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4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  <p:sldMasterId id="2147483676" r:id="rId2"/>
  </p:sldMasterIdLst>
  <p:notesMasterIdLst>
    <p:notesMasterId r:id="rId25"/>
  </p:notesMasterIdLst>
  <p:sldIdLst>
    <p:sldId id="256" r:id="rId3"/>
    <p:sldId id="257" r:id="rId4"/>
    <p:sldId id="258" r:id="rId5"/>
    <p:sldId id="259" r:id="rId6"/>
    <p:sldId id="260" r:id="rId7"/>
    <p:sldId id="276" r:id="rId8"/>
    <p:sldId id="261" r:id="rId9"/>
    <p:sldId id="262" r:id="rId10"/>
    <p:sldId id="263" r:id="rId11"/>
    <p:sldId id="264" r:id="rId12"/>
    <p:sldId id="265" r:id="rId13"/>
    <p:sldId id="266" r:id="rId14"/>
    <p:sldId id="267" r:id="rId15"/>
    <p:sldId id="268" r:id="rId16"/>
    <p:sldId id="269" r:id="rId17"/>
    <p:sldId id="270" r:id="rId18"/>
    <p:sldId id="271" r:id="rId19"/>
    <p:sldId id="272" r:id="rId20"/>
    <p:sldId id="277" r:id="rId21"/>
    <p:sldId id="273" r:id="rId22"/>
    <p:sldId id="274" r:id="rId23"/>
    <p:sldId id="275" r:id="rId24"/>
  </p:sldIdLst>
  <p:sldSz cx="9144000" cy="5143500" type="screen16x9"/>
  <p:notesSz cx="6858000" cy="9144000"/>
  <p:embeddedFontLst>
    <p:embeddedFont>
      <p:font typeface="Bebas Neue" panose="020B0604020202020204" charset="0"/>
      <p:regular r:id="rId26"/>
    </p:embeddedFont>
    <p:embeddedFont>
      <p:font typeface="Calibri" panose="020F0502020204030204" pitchFamily="34" charset="0"/>
      <p:regular r:id="rId27"/>
      <p:bold r:id="rId28"/>
      <p:italic r:id="rId29"/>
      <p:boldItalic r:id="rId30"/>
    </p:embeddedFont>
    <p:embeddedFont>
      <p:font typeface="DM Sans" panose="020B0604020202020204" charset="0"/>
      <p:regular r:id="rId31"/>
      <p:bold r:id="rId32"/>
      <p:italic r:id="rId33"/>
      <p:boldItalic r:id="rId34"/>
    </p:embeddedFont>
    <p:embeddedFont>
      <p:font typeface="Libre Franklin" pitchFamily="2" charset="0"/>
      <p:regular r:id="rId35"/>
      <p:bold r:id="rId36"/>
      <p:italic r:id="rId37"/>
      <p:boldItalic r:id="rId38"/>
    </p:embeddedFont>
    <p:embeddedFont>
      <p:font typeface="Livvic" panose="020B0604020202020204" charset="0"/>
      <p:regular r:id="rId39"/>
      <p:bold r:id="rId40"/>
      <p:italic r:id="rId41"/>
      <p:boldItalic r:id="rId42"/>
    </p:embeddedFont>
    <p:embeddedFont>
      <p:font typeface="Open Sans" panose="020B0606030504020204" pitchFamily="34" charset="0"/>
      <p:regular r:id="rId43"/>
      <p:bold r:id="rId44"/>
      <p:italic r:id="rId45"/>
      <p:boldItalic r:id="rId46"/>
    </p:embeddedFont>
    <p:embeddedFont>
      <p:font typeface="Poppins" panose="00000500000000000000" pitchFamily="2" charset="0"/>
      <p:regular r:id="rId47"/>
      <p:bold r:id="rId48"/>
      <p:italic r:id="rId49"/>
      <p:boldItalic r:id="rId50"/>
    </p:embeddedFont>
    <p:embeddedFont>
      <p:font typeface="Poppins ExtraBold" panose="00000900000000000000" pitchFamily="2" charset="0"/>
      <p:bold r:id="rId51"/>
      <p:boldItalic r:id="rId52"/>
    </p:embeddedFont>
    <p:embeddedFont>
      <p:font typeface="Raleway" pitchFamily="2" charset="0"/>
      <p:regular r:id="rId53"/>
      <p:bold r:id="rId54"/>
      <p:italic r:id="rId55"/>
      <p:boldItalic r:id="rId56"/>
    </p:embeddedFont>
    <p:embeddedFont>
      <p:font typeface="Raleway Thin" pitchFamily="2" charset="0"/>
      <p:regular r:id="rId57"/>
      <p:bold r:id="rId58"/>
      <p:italic r:id="rId59"/>
      <p:boldItalic r:id="rId60"/>
    </p:embeddedFont>
    <p:embeddedFont>
      <p:font typeface="Roboto Condensed Light" panose="02000000000000000000" pitchFamily="2" charset="0"/>
      <p:regular r:id="rId61"/>
      <p:italic r:id="rId62"/>
    </p:embeddedFont>
    <p:embeddedFont>
      <p:font typeface="Titillium Web" panose="00000500000000000000" pitchFamily="2" charset="0"/>
      <p:regular r:id="rId63"/>
      <p:bold r:id="rId64"/>
      <p:italic r:id="rId65"/>
      <p:boldItalic r:id="rId66"/>
    </p:embeddedFont>
  </p:embeddedFontLst>
  <p:custDataLst>
    <p:tags r:id="rId67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68" roundtripDataSignature="AMtx7mhfaAlMOWKagCZGU/kXnY8LIBp+Pw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DE47254-3843-421C-BF16-E2A66E1F5CE1}">
  <a:tblStyle styleId="{0DE47254-3843-421C-BF16-E2A66E1F5CE1}" styleName="Table_0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202" d="100"/>
          <a:sy n="202" d="100"/>
        </p:scale>
        <p:origin x="548" y="11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font" Target="fonts/font1.fntdata"/><Relationship Id="rId21" Type="http://schemas.openxmlformats.org/officeDocument/2006/relationships/slide" Target="slides/slide19.xml"/><Relationship Id="rId42" Type="http://schemas.openxmlformats.org/officeDocument/2006/relationships/font" Target="fonts/font17.fntdata"/><Relationship Id="rId47" Type="http://schemas.openxmlformats.org/officeDocument/2006/relationships/font" Target="fonts/font22.fntdata"/><Relationship Id="rId63" Type="http://schemas.openxmlformats.org/officeDocument/2006/relationships/font" Target="fonts/font38.fntdata"/><Relationship Id="rId68" Type="http://customschemas.google.com/relationships/presentationmetadata" Target="meta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font" Target="fonts/font4.fntdata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font" Target="fonts/font7.fntdata"/><Relationship Id="rId37" Type="http://schemas.openxmlformats.org/officeDocument/2006/relationships/font" Target="fonts/font12.fntdata"/><Relationship Id="rId40" Type="http://schemas.openxmlformats.org/officeDocument/2006/relationships/font" Target="fonts/font15.fntdata"/><Relationship Id="rId45" Type="http://schemas.openxmlformats.org/officeDocument/2006/relationships/font" Target="fonts/font20.fntdata"/><Relationship Id="rId53" Type="http://schemas.openxmlformats.org/officeDocument/2006/relationships/font" Target="fonts/font28.fntdata"/><Relationship Id="rId58" Type="http://schemas.openxmlformats.org/officeDocument/2006/relationships/font" Target="fonts/font33.fntdata"/><Relationship Id="rId66" Type="http://schemas.openxmlformats.org/officeDocument/2006/relationships/font" Target="fonts/font41.fntdata"/><Relationship Id="rId5" Type="http://schemas.openxmlformats.org/officeDocument/2006/relationships/slide" Target="slides/slide3.xml"/><Relationship Id="rId61" Type="http://schemas.openxmlformats.org/officeDocument/2006/relationships/font" Target="fonts/font36.fntdata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font" Target="fonts/font2.fntdata"/><Relationship Id="rId30" Type="http://schemas.openxmlformats.org/officeDocument/2006/relationships/font" Target="fonts/font5.fntdata"/><Relationship Id="rId35" Type="http://schemas.openxmlformats.org/officeDocument/2006/relationships/font" Target="fonts/font10.fntdata"/><Relationship Id="rId43" Type="http://schemas.openxmlformats.org/officeDocument/2006/relationships/font" Target="fonts/font18.fntdata"/><Relationship Id="rId48" Type="http://schemas.openxmlformats.org/officeDocument/2006/relationships/font" Target="fonts/font23.fntdata"/><Relationship Id="rId56" Type="http://schemas.openxmlformats.org/officeDocument/2006/relationships/font" Target="fonts/font31.fntdata"/><Relationship Id="rId64" Type="http://schemas.openxmlformats.org/officeDocument/2006/relationships/font" Target="fonts/font39.fntdata"/><Relationship Id="rId69" Type="http://schemas.openxmlformats.org/officeDocument/2006/relationships/presProps" Target="presProps.xml"/><Relationship Id="rId8" Type="http://schemas.openxmlformats.org/officeDocument/2006/relationships/slide" Target="slides/slide6.xml"/><Relationship Id="rId51" Type="http://schemas.openxmlformats.org/officeDocument/2006/relationships/font" Target="fonts/font26.fntdata"/><Relationship Id="rId72" Type="http://schemas.openxmlformats.org/officeDocument/2006/relationships/tableStyles" Target="tableStyles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33" Type="http://schemas.openxmlformats.org/officeDocument/2006/relationships/font" Target="fonts/font8.fntdata"/><Relationship Id="rId38" Type="http://schemas.openxmlformats.org/officeDocument/2006/relationships/font" Target="fonts/font13.fntdata"/><Relationship Id="rId46" Type="http://schemas.openxmlformats.org/officeDocument/2006/relationships/font" Target="fonts/font21.fntdata"/><Relationship Id="rId59" Type="http://schemas.openxmlformats.org/officeDocument/2006/relationships/font" Target="fonts/font34.fntdata"/><Relationship Id="rId67" Type="http://schemas.openxmlformats.org/officeDocument/2006/relationships/tags" Target="tags/tag1.xml"/><Relationship Id="rId20" Type="http://schemas.openxmlformats.org/officeDocument/2006/relationships/slide" Target="slides/slide18.xml"/><Relationship Id="rId41" Type="http://schemas.openxmlformats.org/officeDocument/2006/relationships/font" Target="fonts/font16.fntdata"/><Relationship Id="rId54" Type="http://schemas.openxmlformats.org/officeDocument/2006/relationships/font" Target="fonts/font29.fntdata"/><Relationship Id="rId62" Type="http://schemas.openxmlformats.org/officeDocument/2006/relationships/font" Target="fonts/font37.fntdata"/><Relationship Id="rId7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font" Target="fonts/font3.fntdata"/><Relationship Id="rId36" Type="http://schemas.openxmlformats.org/officeDocument/2006/relationships/font" Target="fonts/font11.fntdata"/><Relationship Id="rId49" Type="http://schemas.openxmlformats.org/officeDocument/2006/relationships/font" Target="fonts/font24.fntdata"/><Relationship Id="rId57" Type="http://schemas.openxmlformats.org/officeDocument/2006/relationships/font" Target="fonts/font32.fntdata"/><Relationship Id="rId10" Type="http://schemas.openxmlformats.org/officeDocument/2006/relationships/slide" Target="slides/slide8.xml"/><Relationship Id="rId31" Type="http://schemas.openxmlformats.org/officeDocument/2006/relationships/font" Target="fonts/font6.fntdata"/><Relationship Id="rId44" Type="http://schemas.openxmlformats.org/officeDocument/2006/relationships/font" Target="fonts/font19.fntdata"/><Relationship Id="rId52" Type="http://schemas.openxmlformats.org/officeDocument/2006/relationships/font" Target="fonts/font27.fntdata"/><Relationship Id="rId60" Type="http://schemas.openxmlformats.org/officeDocument/2006/relationships/font" Target="fonts/font35.fntdata"/><Relationship Id="rId65" Type="http://schemas.openxmlformats.org/officeDocument/2006/relationships/font" Target="fonts/font40.fntdata"/><Relationship Id="rId73" Type="http://schemas.microsoft.com/office/2016/11/relationships/changesInfo" Target="changesInfos/changesInfo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font" Target="fonts/font14.fntdata"/><Relationship Id="rId34" Type="http://schemas.openxmlformats.org/officeDocument/2006/relationships/font" Target="fonts/font9.fntdata"/><Relationship Id="rId50" Type="http://schemas.openxmlformats.org/officeDocument/2006/relationships/font" Target="fonts/font25.fntdata"/><Relationship Id="rId55" Type="http://schemas.openxmlformats.org/officeDocument/2006/relationships/font" Target="fonts/font30.fntdata"/><Relationship Id="rId7" Type="http://schemas.openxmlformats.org/officeDocument/2006/relationships/slide" Target="slides/slide5.xml"/><Relationship Id="rId71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ylwia Sekula-Neuner" userId="eb3cf9ea-7e1a-4747-b59f-da3eecfb8632" providerId="ADAL" clId="{8879F3DF-1A08-4FF1-891F-880431CD8B8A}"/>
    <pc:docChg chg="undo custSel addSld modSld modMainMaster">
      <pc:chgData name="Sylwia Sekula-Neuner" userId="eb3cf9ea-7e1a-4747-b59f-da3eecfb8632" providerId="ADAL" clId="{8879F3DF-1A08-4FF1-891F-880431CD8B8A}" dt="2024-07-17T12:46:29.801" v="191"/>
      <pc:docMkLst>
        <pc:docMk/>
      </pc:docMkLst>
      <pc:sldChg chg="modNotes">
        <pc:chgData name="Sylwia Sekula-Neuner" userId="eb3cf9ea-7e1a-4747-b59f-da3eecfb8632" providerId="ADAL" clId="{8879F3DF-1A08-4FF1-891F-880431CD8B8A}" dt="2024-07-17T12:46:00.525" v="52"/>
        <pc:sldMkLst>
          <pc:docMk/>
          <pc:sldMk cId="0" sldId="256"/>
        </pc:sldMkLst>
      </pc:sldChg>
      <pc:sldChg chg="modNotes">
        <pc:chgData name="Sylwia Sekula-Neuner" userId="eb3cf9ea-7e1a-4747-b59f-da3eecfb8632" providerId="ADAL" clId="{8879F3DF-1A08-4FF1-891F-880431CD8B8A}" dt="2024-07-17T12:46:00.525" v="52"/>
        <pc:sldMkLst>
          <pc:docMk/>
          <pc:sldMk cId="0" sldId="257"/>
        </pc:sldMkLst>
      </pc:sldChg>
      <pc:sldChg chg="modNotes">
        <pc:chgData name="Sylwia Sekula-Neuner" userId="eb3cf9ea-7e1a-4747-b59f-da3eecfb8632" providerId="ADAL" clId="{8879F3DF-1A08-4FF1-891F-880431CD8B8A}" dt="2024-07-17T12:46:00.525" v="52"/>
        <pc:sldMkLst>
          <pc:docMk/>
          <pc:sldMk cId="0" sldId="258"/>
        </pc:sldMkLst>
      </pc:sldChg>
      <pc:sldChg chg="modNotes">
        <pc:chgData name="Sylwia Sekula-Neuner" userId="eb3cf9ea-7e1a-4747-b59f-da3eecfb8632" providerId="ADAL" clId="{8879F3DF-1A08-4FF1-891F-880431CD8B8A}" dt="2024-07-17T12:46:00.525" v="52"/>
        <pc:sldMkLst>
          <pc:docMk/>
          <pc:sldMk cId="0" sldId="259"/>
        </pc:sldMkLst>
      </pc:sldChg>
      <pc:sldChg chg="modNotes">
        <pc:chgData name="Sylwia Sekula-Neuner" userId="eb3cf9ea-7e1a-4747-b59f-da3eecfb8632" providerId="ADAL" clId="{8879F3DF-1A08-4FF1-891F-880431CD8B8A}" dt="2024-07-17T12:46:00.525" v="52"/>
        <pc:sldMkLst>
          <pc:docMk/>
          <pc:sldMk cId="0" sldId="260"/>
        </pc:sldMkLst>
      </pc:sldChg>
      <pc:sldChg chg="modNotes">
        <pc:chgData name="Sylwia Sekula-Neuner" userId="eb3cf9ea-7e1a-4747-b59f-da3eecfb8632" providerId="ADAL" clId="{8879F3DF-1A08-4FF1-891F-880431CD8B8A}" dt="2024-07-17T12:46:00.525" v="52"/>
        <pc:sldMkLst>
          <pc:docMk/>
          <pc:sldMk cId="0" sldId="261"/>
        </pc:sldMkLst>
      </pc:sldChg>
      <pc:sldChg chg="modNotes">
        <pc:chgData name="Sylwia Sekula-Neuner" userId="eb3cf9ea-7e1a-4747-b59f-da3eecfb8632" providerId="ADAL" clId="{8879F3DF-1A08-4FF1-891F-880431CD8B8A}" dt="2024-07-17T12:46:00.525" v="52"/>
        <pc:sldMkLst>
          <pc:docMk/>
          <pc:sldMk cId="0" sldId="262"/>
        </pc:sldMkLst>
      </pc:sldChg>
      <pc:sldChg chg="modNotes">
        <pc:chgData name="Sylwia Sekula-Neuner" userId="eb3cf9ea-7e1a-4747-b59f-da3eecfb8632" providerId="ADAL" clId="{8879F3DF-1A08-4FF1-891F-880431CD8B8A}" dt="2024-07-17T12:46:00.525" v="52"/>
        <pc:sldMkLst>
          <pc:docMk/>
          <pc:sldMk cId="0" sldId="263"/>
        </pc:sldMkLst>
      </pc:sldChg>
      <pc:sldChg chg="modNotes">
        <pc:chgData name="Sylwia Sekula-Neuner" userId="eb3cf9ea-7e1a-4747-b59f-da3eecfb8632" providerId="ADAL" clId="{8879F3DF-1A08-4FF1-891F-880431CD8B8A}" dt="2024-07-17T12:46:00.525" v="52"/>
        <pc:sldMkLst>
          <pc:docMk/>
          <pc:sldMk cId="0" sldId="264"/>
        </pc:sldMkLst>
      </pc:sldChg>
      <pc:sldChg chg="modNotes">
        <pc:chgData name="Sylwia Sekula-Neuner" userId="eb3cf9ea-7e1a-4747-b59f-da3eecfb8632" providerId="ADAL" clId="{8879F3DF-1A08-4FF1-891F-880431CD8B8A}" dt="2024-07-17T12:46:00.525" v="52"/>
        <pc:sldMkLst>
          <pc:docMk/>
          <pc:sldMk cId="0" sldId="265"/>
        </pc:sldMkLst>
      </pc:sldChg>
      <pc:sldChg chg="modNotes">
        <pc:chgData name="Sylwia Sekula-Neuner" userId="eb3cf9ea-7e1a-4747-b59f-da3eecfb8632" providerId="ADAL" clId="{8879F3DF-1A08-4FF1-891F-880431CD8B8A}" dt="2024-07-17T12:46:00.525" v="52"/>
        <pc:sldMkLst>
          <pc:docMk/>
          <pc:sldMk cId="0" sldId="266"/>
        </pc:sldMkLst>
      </pc:sldChg>
      <pc:sldChg chg="modNotes">
        <pc:chgData name="Sylwia Sekula-Neuner" userId="eb3cf9ea-7e1a-4747-b59f-da3eecfb8632" providerId="ADAL" clId="{8879F3DF-1A08-4FF1-891F-880431CD8B8A}" dt="2024-07-17T12:46:00.525" v="52"/>
        <pc:sldMkLst>
          <pc:docMk/>
          <pc:sldMk cId="0" sldId="267"/>
        </pc:sldMkLst>
      </pc:sldChg>
      <pc:sldChg chg="modNotes">
        <pc:chgData name="Sylwia Sekula-Neuner" userId="eb3cf9ea-7e1a-4747-b59f-da3eecfb8632" providerId="ADAL" clId="{8879F3DF-1A08-4FF1-891F-880431CD8B8A}" dt="2024-07-17T12:46:00.525" v="52"/>
        <pc:sldMkLst>
          <pc:docMk/>
          <pc:sldMk cId="0" sldId="268"/>
        </pc:sldMkLst>
      </pc:sldChg>
      <pc:sldChg chg="modNotes">
        <pc:chgData name="Sylwia Sekula-Neuner" userId="eb3cf9ea-7e1a-4747-b59f-da3eecfb8632" providerId="ADAL" clId="{8879F3DF-1A08-4FF1-891F-880431CD8B8A}" dt="2024-07-17T12:46:00.525" v="52"/>
        <pc:sldMkLst>
          <pc:docMk/>
          <pc:sldMk cId="0" sldId="269"/>
        </pc:sldMkLst>
      </pc:sldChg>
      <pc:sldChg chg="modNotes">
        <pc:chgData name="Sylwia Sekula-Neuner" userId="eb3cf9ea-7e1a-4747-b59f-da3eecfb8632" providerId="ADAL" clId="{8879F3DF-1A08-4FF1-891F-880431CD8B8A}" dt="2024-07-17T12:46:00.525" v="52"/>
        <pc:sldMkLst>
          <pc:docMk/>
          <pc:sldMk cId="0" sldId="270"/>
        </pc:sldMkLst>
      </pc:sldChg>
      <pc:sldChg chg="modSp mod">
        <pc:chgData name="Sylwia Sekula-Neuner" userId="eb3cf9ea-7e1a-4747-b59f-da3eecfb8632" providerId="ADAL" clId="{8879F3DF-1A08-4FF1-891F-880431CD8B8A}" dt="2024-07-16T15:23:30.621" v="21" actId="20577"/>
        <pc:sldMkLst>
          <pc:docMk/>
          <pc:sldMk cId="0" sldId="271"/>
        </pc:sldMkLst>
        <pc:spChg chg="mod">
          <ac:chgData name="Sylwia Sekula-Neuner" userId="eb3cf9ea-7e1a-4747-b59f-da3eecfb8632" providerId="ADAL" clId="{8879F3DF-1A08-4FF1-891F-880431CD8B8A}" dt="2024-07-16T15:23:25.540" v="15" actId="21"/>
          <ac:spMkLst>
            <pc:docMk/>
            <pc:sldMk cId="0" sldId="271"/>
            <ac:spMk id="523" creationId="{00000000-0000-0000-0000-000000000000}"/>
          </ac:spMkLst>
        </pc:spChg>
        <pc:spChg chg="mod">
          <ac:chgData name="Sylwia Sekula-Neuner" userId="eb3cf9ea-7e1a-4747-b59f-da3eecfb8632" providerId="ADAL" clId="{8879F3DF-1A08-4FF1-891F-880431CD8B8A}" dt="2024-07-16T15:23:30.621" v="21" actId="20577"/>
          <ac:spMkLst>
            <pc:docMk/>
            <pc:sldMk cId="0" sldId="271"/>
            <ac:spMk id="524" creationId="{00000000-0000-0000-0000-000000000000}"/>
          </ac:spMkLst>
        </pc:spChg>
      </pc:sldChg>
      <pc:sldChg chg="addSp delSp modSp mod">
        <pc:chgData name="Sylwia Sekula-Neuner" userId="eb3cf9ea-7e1a-4747-b59f-da3eecfb8632" providerId="ADAL" clId="{8879F3DF-1A08-4FF1-891F-880431CD8B8A}" dt="2024-07-16T15:23:38.649" v="23"/>
        <pc:sldMkLst>
          <pc:docMk/>
          <pc:sldMk cId="0" sldId="272"/>
        </pc:sldMkLst>
        <pc:spChg chg="add mod">
          <ac:chgData name="Sylwia Sekula-Neuner" userId="eb3cf9ea-7e1a-4747-b59f-da3eecfb8632" providerId="ADAL" clId="{8879F3DF-1A08-4FF1-891F-880431CD8B8A}" dt="2024-07-16T15:23:38.649" v="23"/>
          <ac:spMkLst>
            <pc:docMk/>
            <pc:sldMk cId="0" sldId="272"/>
            <ac:spMk id="20" creationId="{E9646172-A56D-4043-8229-D3740536F4D5}"/>
          </ac:spMkLst>
        </pc:spChg>
        <pc:spChg chg="add mod">
          <ac:chgData name="Sylwia Sekula-Neuner" userId="eb3cf9ea-7e1a-4747-b59f-da3eecfb8632" providerId="ADAL" clId="{8879F3DF-1A08-4FF1-891F-880431CD8B8A}" dt="2024-07-16T15:23:38.649" v="23"/>
          <ac:spMkLst>
            <pc:docMk/>
            <pc:sldMk cId="0" sldId="272"/>
            <ac:spMk id="21" creationId="{9A22BCF8-CCD3-456E-A500-110189075B97}"/>
          </ac:spMkLst>
        </pc:spChg>
        <pc:spChg chg="del mod">
          <ac:chgData name="Sylwia Sekula-Neuner" userId="eb3cf9ea-7e1a-4747-b59f-da3eecfb8632" providerId="ADAL" clId="{8879F3DF-1A08-4FF1-891F-880431CD8B8A}" dt="2024-07-16T15:23:38.248" v="22" actId="478"/>
          <ac:spMkLst>
            <pc:docMk/>
            <pc:sldMk cId="0" sldId="272"/>
            <ac:spMk id="545" creationId="{00000000-0000-0000-0000-000000000000}"/>
          </ac:spMkLst>
        </pc:spChg>
        <pc:spChg chg="del">
          <ac:chgData name="Sylwia Sekula-Neuner" userId="eb3cf9ea-7e1a-4747-b59f-da3eecfb8632" providerId="ADAL" clId="{8879F3DF-1A08-4FF1-891F-880431CD8B8A}" dt="2024-07-16T15:23:38.248" v="22" actId="478"/>
          <ac:spMkLst>
            <pc:docMk/>
            <pc:sldMk cId="0" sldId="272"/>
            <ac:spMk id="546" creationId="{00000000-0000-0000-0000-000000000000}"/>
          </ac:spMkLst>
        </pc:spChg>
      </pc:sldChg>
      <pc:sldChg chg="modNotes">
        <pc:chgData name="Sylwia Sekula-Neuner" userId="eb3cf9ea-7e1a-4747-b59f-da3eecfb8632" providerId="ADAL" clId="{8879F3DF-1A08-4FF1-891F-880431CD8B8A}" dt="2024-07-17T12:46:00.525" v="52"/>
        <pc:sldMkLst>
          <pc:docMk/>
          <pc:sldMk cId="0" sldId="273"/>
        </pc:sldMkLst>
      </pc:sldChg>
      <pc:sldChg chg="modNotes">
        <pc:chgData name="Sylwia Sekula-Neuner" userId="eb3cf9ea-7e1a-4747-b59f-da3eecfb8632" providerId="ADAL" clId="{8879F3DF-1A08-4FF1-891F-880431CD8B8A}" dt="2024-07-17T12:46:00.544" v="66"/>
        <pc:sldMkLst>
          <pc:docMk/>
          <pc:sldMk cId="0" sldId="274"/>
        </pc:sldMkLst>
      </pc:sldChg>
      <pc:sldChg chg="modSp add mod">
        <pc:chgData name="Sylwia Sekula-Neuner" userId="eb3cf9ea-7e1a-4747-b59f-da3eecfb8632" providerId="ADAL" clId="{8879F3DF-1A08-4FF1-891F-880431CD8B8A}" dt="2024-07-17T12:45:42.075" v="40" actId="6549"/>
        <pc:sldMkLst>
          <pc:docMk/>
          <pc:sldMk cId="3040210759" sldId="276"/>
        </pc:sldMkLst>
        <pc:spChg chg="mod">
          <ac:chgData name="Sylwia Sekula-Neuner" userId="eb3cf9ea-7e1a-4747-b59f-da3eecfb8632" providerId="ADAL" clId="{8879F3DF-1A08-4FF1-891F-880431CD8B8A}" dt="2024-07-17T12:45:42.075" v="40" actId="6549"/>
          <ac:spMkLst>
            <pc:docMk/>
            <pc:sldMk cId="3040210759" sldId="276"/>
            <ac:spMk id="430" creationId="{00000000-0000-0000-0000-000000000000}"/>
          </ac:spMkLst>
        </pc:spChg>
      </pc:sldChg>
      <pc:sldChg chg="addSp delSp modSp add mod">
        <pc:chgData name="Sylwia Sekula-Neuner" userId="eb3cf9ea-7e1a-4747-b59f-da3eecfb8632" providerId="ADAL" clId="{8879F3DF-1A08-4FF1-891F-880431CD8B8A}" dt="2024-07-17T12:46:29.801" v="191"/>
        <pc:sldMkLst>
          <pc:docMk/>
          <pc:sldMk cId="3452880542" sldId="277"/>
        </pc:sldMkLst>
        <pc:spChg chg="add del mod">
          <ac:chgData name="Sylwia Sekula-Neuner" userId="eb3cf9ea-7e1a-4747-b59f-da3eecfb8632" providerId="ADAL" clId="{8879F3DF-1A08-4FF1-891F-880431CD8B8A}" dt="2024-07-17T12:46:20.281" v="172" actId="478"/>
          <ac:spMkLst>
            <pc:docMk/>
            <pc:sldMk cId="3452880542" sldId="277"/>
            <ac:spMk id="5" creationId="{4E20AA9F-4A72-48EF-B354-271A5F019055}"/>
          </ac:spMkLst>
        </pc:spChg>
        <pc:spChg chg="del">
          <ac:chgData name="Sylwia Sekula-Neuner" userId="eb3cf9ea-7e1a-4747-b59f-da3eecfb8632" providerId="ADAL" clId="{8879F3DF-1A08-4FF1-891F-880431CD8B8A}" dt="2024-07-17T12:46:17.953" v="169" actId="478"/>
          <ac:spMkLst>
            <pc:docMk/>
            <pc:sldMk cId="3452880542" sldId="277"/>
            <ac:spMk id="547" creationId="{00000000-0000-0000-0000-000000000000}"/>
          </ac:spMkLst>
        </pc:spChg>
        <pc:spChg chg="mod">
          <ac:chgData name="Sylwia Sekula-Neuner" userId="eb3cf9ea-7e1a-4747-b59f-da3eecfb8632" providerId="ADAL" clId="{8879F3DF-1A08-4FF1-891F-880431CD8B8A}" dt="2024-07-17T12:46:29.305" v="189" actId="20577"/>
          <ac:spMkLst>
            <pc:docMk/>
            <pc:sldMk cId="3452880542" sldId="277"/>
            <ac:spMk id="562" creationId="{00000000-0000-0000-0000-000000000000}"/>
          </ac:spMkLst>
        </pc:spChg>
        <pc:graphicFrameChg chg="add mod ord modVis">
          <ac:chgData name="Sylwia Sekula-Neuner" userId="eb3cf9ea-7e1a-4747-b59f-da3eecfb8632" providerId="ADAL" clId="{8879F3DF-1A08-4FF1-891F-880431CD8B8A}" dt="2024-07-17T12:46:08.089" v="107" actId="14100"/>
          <ac:graphicFrameMkLst>
            <pc:docMk/>
            <pc:sldMk cId="3452880542" sldId="277"/>
            <ac:graphicFrameMk id="2" creationId="{226B7D92-F1BB-4475-8187-45EE063664BF}"/>
          </ac:graphicFrameMkLst>
        </pc:graphicFrameChg>
        <pc:graphicFrameChg chg="add mod ord modVis">
          <ac:chgData name="Sylwia Sekula-Neuner" userId="eb3cf9ea-7e1a-4747-b59f-da3eecfb8632" providerId="ADAL" clId="{8879F3DF-1A08-4FF1-891F-880431CD8B8A}" dt="2024-07-17T12:46:29.801" v="191"/>
          <ac:graphicFrameMkLst>
            <pc:docMk/>
            <pc:sldMk cId="3452880542" sldId="277"/>
            <ac:graphicFrameMk id="3" creationId="{3FD92E20-54EE-4464-8187-B753C7E7AC23}"/>
          </ac:graphicFrameMkLst>
        </pc:graphicFrameChg>
      </pc:sldChg>
      <pc:sldMasterChg chg="addSp modSp mod">
        <pc:chgData name="Sylwia Sekula-Neuner" userId="eb3cf9ea-7e1a-4747-b59f-da3eecfb8632" providerId="ADAL" clId="{8879F3DF-1A08-4FF1-891F-880431CD8B8A}" dt="2024-07-17T12:46:10.374" v="137"/>
        <pc:sldMasterMkLst>
          <pc:docMk/>
          <pc:sldMasterMk cId="0" sldId="2147483648"/>
        </pc:sldMasterMkLst>
        <pc:graphicFrameChg chg="add mod ord modVis">
          <ac:chgData name="Sylwia Sekula-Neuner" userId="eb3cf9ea-7e1a-4747-b59f-da3eecfb8632" providerId="ADAL" clId="{8879F3DF-1A08-4FF1-891F-880431CD8B8A}" dt="2024-07-17T12:46:08.099" v="119" actId="14100"/>
          <ac:graphicFrameMkLst>
            <pc:docMk/>
            <pc:sldMasterMk cId="0" sldId="2147483648"/>
            <ac:graphicFrameMk id="2" creationId="{19C7424A-4508-4DAB-90F6-2A8AA83DB9B5}"/>
          </ac:graphicFrameMkLst>
        </pc:graphicFrameChg>
        <pc:graphicFrameChg chg="add mod ord modVis">
          <ac:chgData name="Sylwia Sekula-Neuner" userId="eb3cf9ea-7e1a-4747-b59f-da3eecfb8632" providerId="ADAL" clId="{8879F3DF-1A08-4FF1-891F-880431CD8B8A}" dt="2024-07-17T12:46:10.374" v="137"/>
          <ac:graphicFrameMkLst>
            <pc:docMk/>
            <pc:sldMasterMk cId="0" sldId="2147483648"/>
            <ac:graphicFrameMk id="3" creationId="{9044C849-346F-43F5-B601-A28A903E2836}"/>
          </ac:graphicFrameMkLst>
        </pc:graphicFrameChg>
      </pc:sldMasterChg>
      <pc:sldMasterChg chg="addSp modSp mod">
        <pc:chgData name="Sylwia Sekula-Neuner" userId="eb3cf9ea-7e1a-4747-b59f-da3eecfb8632" providerId="ADAL" clId="{8879F3DF-1A08-4FF1-891F-880431CD8B8A}" dt="2024-07-17T12:46:10.389" v="151"/>
        <pc:sldMasterMkLst>
          <pc:docMk/>
          <pc:sldMasterMk cId="0" sldId="2147483676"/>
        </pc:sldMasterMkLst>
        <pc:graphicFrameChg chg="add mod ord modVis">
          <ac:chgData name="Sylwia Sekula-Neuner" userId="eb3cf9ea-7e1a-4747-b59f-da3eecfb8632" providerId="ADAL" clId="{8879F3DF-1A08-4FF1-891F-880431CD8B8A}" dt="2024-07-17T12:46:08.092" v="113" actId="14100"/>
          <ac:graphicFrameMkLst>
            <pc:docMk/>
            <pc:sldMasterMk cId="0" sldId="2147483676"/>
            <ac:graphicFrameMk id="2" creationId="{81AC80B1-A638-44CD-ADBA-81CDF8273C1F}"/>
          </ac:graphicFrameMkLst>
        </pc:graphicFrameChg>
        <pc:graphicFrameChg chg="add mod ord modVis">
          <ac:chgData name="Sylwia Sekula-Neuner" userId="eb3cf9ea-7e1a-4747-b59f-da3eecfb8632" providerId="ADAL" clId="{8879F3DF-1A08-4FF1-891F-880431CD8B8A}" dt="2024-07-17T12:46:10.389" v="151"/>
          <ac:graphicFrameMkLst>
            <pc:docMk/>
            <pc:sldMasterMk cId="0" sldId="2147483676"/>
            <ac:graphicFrameMk id="3" creationId="{D47E65F1-677B-4878-A108-1F1B79CF7634}"/>
          </ac:graphicFrameMkLst>
        </pc:graphicFrame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" name="Google Shape;382;g21570a8a96d_0_6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3" name="Google Shape;383;g21570a8a96d_0_6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21570a8a96d_0_4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9" name="Google Shape;469;g21570a8a96d_0_4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5" name="Google Shape;475;g21570a8a96d_0_4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76" name="Google Shape;476;g21570a8a96d_0_4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2" name="Google Shape;482;g21570a8a96d_0_42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3" name="Google Shape;483;g21570a8a96d_0_4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9" name="Google Shape;489;g21570a8a96d_0_43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90" name="Google Shape;490;g21570a8a96d_0_4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6" name="Google Shape;496;g21570a8a96d_0_43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97" name="Google Shape;497;g21570a8a96d_0_43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g21570a8a96d_0_6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4" name="Google Shape;504;g21570a8a96d_0_6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" name="Google Shape;513;g21570a8a96d_0_64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14" name="Google Shape;514;g21570a8a96d_0_64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0" name="Google Shape;520;g21570a8a96d_0_6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1" name="Google Shape;521;g21570a8a96d_0_6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" name="Google Shape;542;g21570a8a96d_0_58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43" name="Google Shape;543;g21570a8a96d_0_58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" name="Google Shape;542;g21570a8a96d_0_58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43" name="Google Shape;543;g21570a8a96d_0_58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877238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Google Shape;389;g21570a8a96d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90" name="Google Shape;390;g21570a8a96d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4" name="Google Shape;564;g21570a8a96d_2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5" name="Google Shape;565;g21570a8a96d_2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1" name="Google Shape;571;g21570a8a96d_0_50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7588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72" name="Google Shape;572;g21570a8a96d_0_502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0" name="Google Shape;580;g21570a8a96d_0_56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1" name="Google Shape;581;g21570a8a96d_0_56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0" name="Google Shape;400;g21570a8a96d_0_15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1" name="Google Shape;401;g21570a8a96d_0_15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8" name="Google Shape;418;g21570a8a96d_0_24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9" name="Google Shape;419;g21570a8a96d_0_24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5" name="Google Shape;425;g21570a8a96d_0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6" name="Google Shape;426;g21570a8a96d_0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5" name="Google Shape;425;g21570a8a96d_0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6" name="Google Shape;426;g21570a8a96d_0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8920379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2" name="Google Shape;432;g21570a8a96d_0_27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3" name="Google Shape;433;g21570a8a96d_0_27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8" name="Google Shape;448;g21570a8a96d_0_3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49" name="Google Shape;449;g21570a8a96d_0_3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" name="Google Shape;460;g21570a8a96d_0_40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1" name="Google Shape;461;g21570a8a96d_0_40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laticon.com/" TargetMode="External"/><Relationship Id="rId2" Type="http://schemas.openxmlformats.org/officeDocument/2006/relationships/hyperlink" Target="https://slidesgo.com/" TargetMode="External"/><Relationship Id="rId1" Type="http://schemas.openxmlformats.org/officeDocument/2006/relationships/slideMaster" Target="../slideMasters/slideMaster1.xml"/><Relationship Id="rId4" Type="http://schemas.openxmlformats.org/officeDocument/2006/relationships/hyperlink" Target="https://www.freepik.com/" TargetMode="Externa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15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Google Shape;10;p15"/>
          <p:cNvSpPr txBox="1">
            <a:spLocks noGrp="1"/>
          </p:cNvSpPr>
          <p:nvPr>
            <p:ph type="title"/>
          </p:nvPr>
        </p:nvSpPr>
        <p:spPr>
          <a:xfrm>
            <a:off x="1388100" y="526350"/>
            <a:ext cx="6367800" cy="4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grpSp>
        <p:nvGrpSpPr>
          <p:cNvPr id="11" name="Google Shape;11;p15"/>
          <p:cNvGrpSpPr/>
          <p:nvPr/>
        </p:nvGrpSpPr>
        <p:grpSpPr>
          <a:xfrm rot="10800000" flipH="1">
            <a:off x="1101156" y="253148"/>
            <a:ext cx="7611770" cy="2949180"/>
            <a:chOff x="404800" y="-890960"/>
            <a:chExt cx="8937149" cy="3462698"/>
          </a:xfrm>
        </p:grpSpPr>
        <p:sp>
          <p:nvSpPr>
            <p:cNvPr id="12" name="Google Shape;12;p15"/>
            <p:cNvSpPr/>
            <p:nvPr/>
          </p:nvSpPr>
          <p:spPr>
            <a:xfrm>
              <a:off x="8152149" y="-890960"/>
              <a:ext cx="1189800" cy="118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" name="Google Shape;13;p15"/>
            <p:cNvSpPr/>
            <p:nvPr/>
          </p:nvSpPr>
          <p:spPr>
            <a:xfrm rot="10800000">
              <a:off x="8319788" y="139881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" name="Google Shape;14;p15"/>
            <p:cNvSpPr/>
            <p:nvPr/>
          </p:nvSpPr>
          <p:spPr>
            <a:xfrm rot="10800000">
              <a:off x="8016563" y="1770163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" name="Google Shape;15;p15"/>
            <p:cNvSpPr/>
            <p:nvPr/>
          </p:nvSpPr>
          <p:spPr>
            <a:xfrm>
              <a:off x="404800" y="20509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6" name="Google Shape;16;p15"/>
          <p:cNvSpPr/>
          <p:nvPr/>
        </p:nvSpPr>
        <p:spPr>
          <a:xfrm rot="10800000" flipH="1">
            <a:off x="4746823" y="3303353"/>
            <a:ext cx="1013400" cy="10134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7" name="Google Shape;17;p15"/>
          <p:cNvGrpSpPr/>
          <p:nvPr/>
        </p:nvGrpSpPr>
        <p:grpSpPr>
          <a:xfrm rot="10800000">
            <a:off x="270750" y="740109"/>
            <a:ext cx="8627325" cy="4089001"/>
            <a:chOff x="270750" y="253149"/>
            <a:chExt cx="8627325" cy="4089001"/>
          </a:xfrm>
        </p:grpSpPr>
        <p:sp>
          <p:nvSpPr>
            <p:cNvPr id="18" name="Google Shape;18;p15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" name="Google Shape;19;p15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" name="Google Shape;20;p15"/>
            <p:cNvSpPr/>
            <p:nvPr/>
          </p:nvSpPr>
          <p:spPr>
            <a:xfrm>
              <a:off x="6009175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" name="Google Shape;21;p15"/>
            <p:cNvSpPr/>
            <p:nvPr/>
          </p:nvSpPr>
          <p:spPr>
            <a:xfrm>
              <a:off x="8325975" y="33980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" name="Google Shape;22;p15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p24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" name="Google Shape;120;p24"/>
          <p:cNvSpPr txBox="1">
            <a:spLocks noGrp="1"/>
          </p:cNvSpPr>
          <p:nvPr>
            <p:ph type="title"/>
          </p:nvPr>
        </p:nvSpPr>
        <p:spPr>
          <a:xfrm flipH="1">
            <a:off x="5825013" y="1820700"/>
            <a:ext cx="2387100" cy="123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9pPr>
          </a:lstStyle>
          <a:p>
            <a:endParaRPr/>
          </a:p>
        </p:txBody>
      </p:sp>
      <p:sp>
        <p:nvSpPr>
          <p:cNvPr id="121" name="Google Shape;121;p24"/>
          <p:cNvSpPr txBox="1">
            <a:spLocks noGrp="1"/>
          </p:cNvSpPr>
          <p:nvPr>
            <p:ph type="body" idx="1"/>
          </p:nvPr>
        </p:nvSpPr>
        <p:spPr>
          <a:xfrm flipH="1">
            <a:off x="931888" y="1206450"/>
            <a:ext cx="5082600" cy="245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175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600"/>
            </a:lvl1pPr>
            <a:lvl2pPr marL="914400" lvl="1" indent="-3175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400"/>
            </a:lvl2pPr>
            <a:lvl3pPr marL="1371600" lvl="2" indent="-3175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400"/>
            </a:lvl3pPr>
            <a:lvl4pPr marL="1828800" lvl="3" indent="-3175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400"/>
            </a:lvl5pPr>
            <a:lvl6pPr marL="2743200" lvl="5" indent="-3175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400"/>
            </a:lvl6pPr>
            <a:lvl7pPr marL="3200400" lvl="6" indent="-3175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7pPr>
            <a:lvl8pPr marL="3657600" lvl="7" indent="-3175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400"/>
            </a:lvl8pPr>
            <a:lvl9pPr marL="4114800" lvl="8" indent="-3175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400"/>
            </a:lvl9pPr>
          </a:lstStyle>
          <a:p>
            <a:endParaRPr/>
          </a:p>
        </p:txBody>
      </p:sp>
      <p:grpSp>
        <p:nvGrpSpPr>
          <p:cNvPr id="122" name="Google Shape;122;p24"/>
          <p:cNvGrpSpPr/>
          <p:nvPr/>
        </p:nvGrpSpPr>
        <p:grpSpPr>
          <a:xfrm>
            <a:off x="270750" y="253149"/>
            <a:ext cx="8627325" cy="4089001"/>
            <a:chOff x="270750" y="253149"/>
            <a:chExt cx="8627325" cy="4089001"/>
          </a:xfrm>
        </p:grpSpPr>
        <p:sp>
          <p:nvSpPr>
            <p:cNvPr id="123" name="Google Shape;123;p24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4" name="Google Shape;124;p24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5" name="Google Shape;125;p24"/>
            <p:cNvSpPr/>
            <p:nvPr/>
          </p:nvSpPr>
          <p:spPr>
            <a:xfrm>
              <a:off x="6009175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6" name="Google Shape;126;p24"/>
            <p:cNvSpPr/>
            <p:nvPr/>
          </p:nvSpPr>
          <p:spPr>
            <a:xfrm>
              <a:off x="8325975" y="33980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7" name="Google Shape;127;p24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Google Shape;129;p25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30" name="Google Shape;130;p25"/>
          <p:cNvGrpSpPr/>
          <p:nvPr/>
        </p:nvGrpSpPr>
        <p:grpSpPr>
          <a:xfrm>
            <a:off x="270750" y="305956"/>
            <a:ext cx="7172425" cy="3514294"/>
            <a:chOff x="270750" y="305956"/>
            <a:chExt cx="7172425" cy="3514294"/>
          </a:xfrm>
        </p:grpSpPr>
        <p:sp>
          <p:nvSpPr>
            <p:cNvPr id="131" name="Google Shape;131;p25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2" name="Google Shape;132;p25"/>
            <p:cNvSpPr/>
            <p:nvPr/>
          </p:nvSpPr>
          <p:spPr>
            <a:xfrm>
              <a:off x="6871075" y="4450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3" name="Google Shape;133;p25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34" name="Google Shape;134;p25"/>
          <p:cNvSpPr txBox="1">
            <a:spLocks noGrp="1"/>
          </p:cNvSpPr>
          <p:nvPr>
            <p:ph type="body" idx="1"/>
          </p:nvPr>
        </p:nvSpPr>
        <p:spPr>
          <a:xfrm>
            <a:off x="1064175" y="3620975"/>
            <a:ext cx="3507900" cy="6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Poppins ExtraBold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</a:lstStyle>
          <a:p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Google Shape;136;p26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7" name="Google Shape;137;p26"/>
          <p:cNvSpPr txBox="1">
            <a:spLocks noGrp="1"/>
          </p:cNvSpPr>
          <p:nvPr>
            <p:ph type="title" hasCustomPrompt="1"/>
          </p:nvPr>
        </p:nvSpPr>
        <p:spPr>
          <a:xfrm>
            <a:off x="2616450" y="1487125"/>
            <a:ext cx="3911100" cy="14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0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138" name="Google Shape;138;p26"/>
          <p:cNvSpPr txBox="1">
            <a:spLocks noGrp="1"/>
          </p:cNvSpPr>
          <p:nvPr>
            <p:ph type="body" idx="1"/>
          </p:nvPr>
        </p:nvSpPr>
        <p:spPr>
          <a:xfrm>
            <a:off x="1821000" y="2923625"/>
            <a:ext cx="5502000" cy="44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grpSp>
        <p:nvGrpSpPr>
          <p:cNvPr id="139" name="Google Shape;139;p26"/>
          <p:cNvGrpSpPr/>
          <p:nvPr/>
        </p:nvGrpSpPr>
        <p:grpSpPr>
          <a:xfrm>
            <a:off x="270750" y="253149"/>
            <a:ext cx="8627325" cy="4089001"/>
            <a:chOff x="270750" y="253149"/>
            <a:chExt cx="8627325" cy="4089001"/>
          </a:xfrm>
        </p:grpSpPr>
        <p:sp>
          <p:nvSpPr>
            <p:cNvPr id="140" name="Google Shape;140;p26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1" name="Google Shape;141;p26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2" name="Google Shape;142;p26"/>
            <p:cNvSpPr/>
            <p:nvPr/>
          </p:nvSpPr>
          <p:spPr>
            <a:xfrm>
              <a:off x="6009175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3" name="Google Shape;143;p26"/>
            <p:cNvSpPr/>
            <p:nvPr/>
          </p:nvSpPr>
          <p:spPr>
            <a:xfrm>
              <a:off x="8325975" y="33980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4" name="Google Shape;144;p26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14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">
  <p:cSld name="CUSTOM_3"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28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8" name="Google Shape;148;p28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49" name="Google Shape;149;p28"/>
          <p:cNvSpPr txBox="1">
            <a:spLocks noGrp="1"/>
          </p:cNvSpPr>
          <p:nvPr>
            <p:ph type="subTitle" idx="1"/>
          </p:nvPr>
        </p:nvSpPr>
        <p:spPr>
          <a:xfrm>
            <a:off x="1188415" y="2624233"/>
            <a:ext cx="1850400" cy="31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sp>
        <p:nvSpPr>
          <p:cNvPr id="150" name="Google Shape;150;p28"/>
          <p:cNvSpPr txBox="1">
            <a:spLocks noGrp="1"/>
          </p:cNvSpPr>
          <p:nvPr>
            <p:ph type="subTitle" idx="2"/>
          </p:nvPr>
        </p:nvSpPr>
        <p:spPr>
          <a:xfrm>
            <a:off x="6101380" y="2632928"/>
            <a:ext cx="1850400" cy="31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sp>
        <p:nvSpPr>
          <p:cNvPr id="151" name="Google Shape;151;p28"/>
          <p:cNvSpPr txBox="1">
            <a:spLocks noGrp="1"/>
          </p:cNvSpPr>
          <p:nvPr>
            <p:ph type="subTitle" idx="3"/>
          </p:nvPr>
        </p:nvSpPr>
        <p:spPr>
          <a:xfrm>
            <a:off x="3643771" y="2632928"/>
            <a:ext cx="1850400" cy="31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sp>
        <p:nvSpPr>
          <p:cNvPr id="152" name="Google Shape;152;p28"/>
          <p:cNvSpPr txBox="1">
            <a:spLocks noGrp="1"/>
          </p:cNvSpPr>
          <p:nvPr>
            <p:ph type="subTitle" idx="4"/>
          </p:nvPr>
        </p:nvSpPr>
        <p:spPr>
          <a:xfrm>
            <a:off x="970625" y="2964530"/>
            <a:ext cx="2286000" cy="697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6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3" name="Google Shape;153;p28"/>
          <p:cNvSpPr txBox="1">
            <a:spLocks noGrp="1"/>
          </p:cNvSpPr>
          <p:nvPr>
            <p:ph type="subTitle" idx="5"/>
          </p:nvPr>
        </p:nvSpPr>
        <p:spPr>
          <a:xfrm>
            <a:off x="3425971" y="2964530"/>
            <a:ext cx="2286000" cy="697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6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4" name="Google Shape;154;p28"/>
          <p:cNvSpPr txBox="1">
            <a:spLocks noGrp="1"/>
          </p:cNvSpPr>
          <p:nvPr>
            <p:ph type="subTitle" idx="6"/>
          </p:nvPr>
        </p:nvSpPr>
        <p:spPr>
          <a:xfrm>
            <a:off x="5883580" y="2964530"/>
            <a:ext cx="2286000" cy="697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6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5" name="Google Shape;155;p28"/>
          <p:cNvGrpSpPr/>
          <p:nvPr/>
        </p:nvGrpSpPr>
        <p:grpSpPr>
          <a:xfrm rot="10800000" flipH="1">
            <a:off x="270750" y="253149"/>
            <a:ext cx="8627325" cy="4216100"/>
            <a:chOff x="270750" y="126050"/>
            <a:chExt cx="8627325" cy="4216100"/>
          </a:xfrm>
        </p:grpSpPr>
        <p:sp>
          <p:nvSpPr>
            <p:cNvPr id="156" name="Google Shape;156;p28"/>
            <p:cNvSpPr/>
            <p:nvPr/>
          </p:nvSpPr>
          <p:spPr>
            <a:xfrm>
              <a:off x="320500" y="126050"/>
              <a:ext cx="725100" cy="725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7" name="Google Shape;157;p28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8" name="Google Shape;158;p28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9" name="Google Shape;159;p28"/>
            <p:cNvSpPr/>
            <p:nvPr/>
          </p:nvSpPr>
          <p:spPr>
            <a:xfrm>
              <a:off x="7443175" y="34637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0" name="Google Shape;160;p28"/>
            <p:cNvSpPr/>
            <p:nvPr/>
          </p:nvSpPr>
          <p:spPr>
            <a:xfrm>
              <a:off x="83259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1" name="Google Shape;161;p28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ix columns">
  <p:cSld name="CUSTOM_27">
    <p:spTree>
      <p:nvGrpSpPr>
        <p:cNvPr id="1" name="Shape 1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p29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64" name="Google Shape;164;p29"/>
          <p:cNvGrpSpPr/>
          <p:nvPr/>
        </p:nvGrpSpPr>
        <p:grpSpPr>
          <a:xfrm>
            <a:off x="270750" y="253149"/>
            <a:ext cx="8627325" cy="4089001"/>
            <a:chOff x="270750" y="253149"/>
            <a:chExt cx="8627325" cy="4089001"/>
          </a:xfrm>
        </p:grpSpPr>
        <p:sp>
          <p:nvSpPr>
            <p:cNvPr id="165" name="Google Shape;165;p29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6" name="Google Shape;166;p29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7" name="Google Shape;167;p29"/>
            <p:cNvSpPr/>
            <p:nvPr/>
          </p:nvSpPr>
          <p:spPr>
            <a:xfrm>
              <a:off x="6009175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8" name="Google Shape;168;p29"/>
            <p:cNvSpPr/>
            <p:nvPr/>
          </p:nvSpPr>
          <p:spPr>
            <a:xfrm>
              <a:off x="8325975" y="33980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9" name="Google Shape;169;p29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70" name="Google Shape;170;p29"/>
          <p:cNvSpPr txBox="1">
            <a:spLocks noGrp="1"/>
          </p:cNvSpPr>
          <p:nvPr>
            <p:ph type="subTitle" idx="1"/>
          </p:nvPr>
        </p:nvSpPr>
        <p:spPr>
          <a:xfrm>
            <a:off x="1264169" y="1912763"/>
            <a:ext cx="2016000" cy="5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71" name="Google Shape;171;p29"/>
          <p:cNvSpPr txBox="1">
            <a:spLocks noGrp="1"/>
          </p:cNvSpPr>
          <p:nvPr>
            <p:ph type="subTitle" idx="2"/>
          </p:nvPr>
        </p:nvSpPr>
        <p:spPr>
          <a:xfrm>
            <a:off x="1346969" y="3066379"/>
            <a:ext cx="1850400" cy="31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sp>
        <p:nvSpPr>
          <p:cNvPr id="172" name="Google Shape;172;p29"/>
          <p:cNvSpPr txBox="1">
            <a:spLocks noGrp="1"/>
          </p:cNvSpPr>
          <p:nvPr>
            <p:ph type="subTitle" idx="3"/>
          </p:nvPr>
        </p:nvSpPr>
        <p:spPr>
          <a:xfrm>
            <a:off x="5950358" y="3066346"/>
            <a:ext cx="1850400" cy="31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sp>
        <p:nvSpPr>
          <p:cNvPr id="173" name="Google Shape;173;p29"/>
          <p:cNvSpPr txBox="1">
            <a:spLocks noGrp="1"/>
          </p:cNvSpPr>
          <p:nvPr>
            <p:ph type="subTitle" idx="4"/>
          </p:nvPr>
        </p:nvSpPr>
        <p:spPr>
          <a:xfrm>
            <a:off x="3648664" y="3066346"/>
            <a:ext cx="1850400" cy="31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sp>
        <p:nvSpPr>
          <p:cNvPr id="174" name="Google Shape;174;p29"/>
          <p:cNvSpPr txBox="1">
            <a:spLocks noGrp="1"/>
          </p:cNvSpPr>
          <p:nvPr>
            <p:ph type="subTitle" idx="5"/>
          </p:nvPr>
        </p:nvSpPr>
        <p:spPr>
          <a:xfrm>
            <a:off x="1346969" y="1628058"/>
            <a:ext cx="1850400" cy="31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sp>
        <p:nvSpPr>
          <p:cNvPr id="175" name="Google Shape;175;p29"/>
          <p:cNvSpPr txBox="1">
            <a:spLocks noGrp="1"/>
          </p:cNvSpPr>
          <p:nvPr>
            <p:ph type="subTitle" idx="6"/>
          </p:nvPr>
        </p:nvSpPr>
        <p:spPr>
          <a:xfrm>
            <a:off x="5950358" y="1630967"/>
            <a:ext cx="1850400" cy="31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sp>
        <p:nvSpPr>
          <p:cNvPr id="176" name="Google Shape;176;p29"/>
          <p:cNvSpPr txBox="1">
            <a:spLocks noGrp="1"/>
          </p:cNvSpPr>
          <p:nvPr>
            <p:ph type="subTitle" idx="7"/>
          </p:nvPr>
        </p:nvSpPr>
        <p:spPr>
          <a:xfrm>
            <a:off x="3648664" y="1630967"/>
            <a:ext cx="1850400" cy="31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sp>
        <p:nvSpPr>
          <p:cNvPr id="177" name="Google Shape;177;p29"/>
          <p:cNvSpPr txBox="1">
            <a:spLocks noGrp="1"/>
          </p:cNvSpPr>
          <p:nvPr>
            <p:ph type="subTitle" idx="8"/>
          </p:nvPr>
        </p:nvSpPr>
        <p:spPr>
          <a:xfrm>
            <a:off x="3565864" y="1912763"/>
            <a:ext cx="2016000" cy="5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78" name="Google Shape;178;p29"/>
          <p:cNvSpPr txBox="1">
            <a:spLocks noGrp="1"/>
          </p:cNvSpPr>
          <p:nvPr>
            <p:ph type="subTitle" idx="9"/>
          </p:nvPr>
        </p:nvSpPr>
        <p:spPr>
          <a:xfrm>
            <a:off x="5867558" y="1912763"/>
            <a:ext cx="2016000" cy="5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79" name="Google Shape;179;p29"/>
          <p:cNvSpPr txBox="1">
            <a:spLocks noGrp="1"/>
          </p:cNvSpPr>
          <p:nvPr>
            <p:ph type="subTitle" idx="13"/>
          </p:nvPr>
        </p:nvSpPr>
        <p:spPr>
          <a:xfrm>
            <a:off x="1262282" y="3350313"/>
            <a:ext cx="2016000" cy="5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0" name="Google Shape;180;p29"/>
          <p:cNvSpPr txBox="1">
            <a:spLocks noGrp="1"/>
          </p:cNvSpPr>
          <p:nvPr>
            <p:ph type="subTitle" idx="14"/>
          </p:nvPr>
        </p:nvSpPr>
        <p:spPr>
          <a:xfrm>
            <a:off x="3563976" y="3350313"/>
            <a:ext cx="2016000" cy="5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1" name="Google Shape;181;p29"/>
          <p:cNvSpPr txBox="1">
            <a:spLocks noGrp="1"/>
          </p:cNvSpPr>
          <p:nvPr>
            <p:ph type="subTitle" idx="15"/>
          </p:nvPr>
        </p:nvSpPr>
        <p:spPr>
          <a:xfrm>
            <a:off x="5865671" y="3350313"/>
            <a:ext cx="2016000" cy="5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2" name="Google Shape;182;p29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2">
  <p:cSld name="ONE_COLUMN_TEXT_1">
    <p:spTree>
      <p:nvGrpSpPr>
        <p:cNvPr id="1" name="Shape 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Google Shape;184;p30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5" name="Google Shape;185;p30"/>
          <p:cNvSpPr txBox="1">
            <a:spLocks noGrp="1"/>
          </p:cNvSpPr>
          <p:nvPr>
            <p:ph type="title"/>
          </p:nvPr>
        </p:nvSpPr>
        <p:spPr>
          <a:xfrm flipH="1">
            <a:off x="4668775" y="1294650"/>
            <a:ext cx="3609600" cy="141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6" name="Google Shape;186;p30"/>
          <p:cNvSpPr txBox="1">
            <a:spLocks noGrp="1"/>
          </p:cNvSpPr>
          <p:nvPr>
            <p:ph type="subTitle" idx="1"/>
          </p:nvPr>
        </p:nvSpPr>
        <p:spPr>
          <a:xfrm flipH="1">
            <a:off x="4948375" y="2831250"/>
            <a:ext cx="3330000" cy="71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>
                <a:solidFill>
                  <a:schemeClr val="dk1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>
                <a:solidFill>
                  <a:schemeClr val="dk1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>
                <a:solidFill>
                  <a:schemeClr val="dk1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>
                <a:solidFill>
                  <a:schemeClr val="dk1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>
                <a:solidFill>
                  <a:schemeClr val="dk1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>
                <a:solidFill>
                  <a:schemeClr val="dk1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>
                <a:solidFill>
                  <a:schemeClr val="dk1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grpSp>
        <p:nvGrpSpPr>
          <p:cNvPr id="187" name="Google Shape;187;p30"/>
          <p:cNvGrpSpPr/>
          <p:nvPr/>
        </p:nvGrpSpPr>
        <p:grpSpPr>
          <a:xfrm rot="10800000" flipH="1">
            <a:off x="270750" y="253149"/>
            <a:ext cx="8627325" cy="4036194"/>
            <a:chOff x="270750" y="305956"/>
            <a:chExt cx="8627325" cy="4036194"/>
          </a:xfrm>
        </p:grpSpPr>
        <p:sp>
          <p:nvSpPr>
            <p:cNvPr id="188" name="Google Shape;188;p30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9" name="Google Shape;189;p30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0" name="Google Shape;190;p30"/>
            <p:cNvSpPr/>
            <p:nvPr/>
          </p:nvSpPr>
          <p:spPr>
            <a:xfrm>
              <a:off x="7218275" y="36057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1" name="Google Shape;191;p30"/>
            <p:cNvSpPr/>
            <p:nvPr/>
          </p:nvSpPr>
          <p:spPr>
            <a:xfrm>
              <a:off x="83259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2" name="Google Shape;192;p30"/>
            <p:cNvSpPr/>
            <p:nvPr/>
          </p:nvSpPr>
          <p:spPr>
            <a:xfrm>
              <a:off x="2495713" y="3142275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3" name="Google Shape;193;p30"/>
            <p:cNvSpPr/>
            <p:nvPr/>
          </p:nvSpPr>
          <p:spPr>
            <a:xfrm>
              <a:off x="5245438" y="3663063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4" name="Google Shape;194;p30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 1">
  <p:cSld name="CUSTOM_26">
    <p:spTree>
      <p:nvGrpSpPr>
        <p:cNvPr id="1" name="Shape 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" name="Google Shape;196;p31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7" name="Google Shape;197;p31"/>
          <p:cNvSpPr txBox="1">
            <a:spLocks noGrp="1"/>
          </p:cNvSpPr>
          <p:nvPr>
            <p:ph type="subTitle" idx="1"/>
          </p:nvPr>
        </p:nvSpPr>
        <p:spPr>
          <a:xfrm>
            <a:off x="2680650" y="2075675"/>
            <a:ext cx="18744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98" name="Google Shape;198;p31"/>
          <p:cNvSpPr txBox="1">
            <a:spLocks noGrp="1"/>
          </p:cNvSpPr>
          <p:nvPr>
            <p:ph type="subTitle" idx="2"/>
          </p:nvPr>
        </p:nvSpPr>
        <p:spPr>
          <a:xfrm>
            <a:off x="2566350" y="1676917"/>
            <a:ext cx="2103000" cy="44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Raleway Thin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Raleway"/>
              <a:buNone/>
              <a:defRPr sz="17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Raleway"/>
              <a:buNone/>
              <a:defRPr sz="17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Raleway"/>
              <a:buNone/>
              <a:defRPr sz="17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Raleway"/>
              <a:buNone/>
              <a:defRPr sz="17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Raleway"/>
              <a:buNone/>
              <a:defRPr sz="17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Raleway"/>
              <a:buNone/>
              <a:defRPr sz="17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Raleway"/>
              <a:buNone/>
              <a:defRPr sz="17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Raleway"/>
              <a:buNone/>
              <a:defRPr sz="17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endParaRPr/>
          </a:p>
        </p:txBody>
      </p:sp>
      <p:sp>
        <p:nvSpPr>
          <p:cNvPr id="199" name="Google Shape;199;p31"/>
          <p:cNvSpPr txBox="1">
            <a:spLocks noGrp="1"/>
          </p:cNvSpPr>
          <p:nvPr>
            <p:ph type="subTitle" idx="3"/>
          </p:nvPr>
        </p:nvSpPr>
        <p:spPr>
          <a:xfrm>
            <a:off x="6332025" y="1676917"/>
            <a:ext cx="2103000" cy="44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Raleway Thin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Raleway"/>
              <a:buNone/>
              <a:defRPr sz="17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Raleway"/>
              <a:buNone/>
              <a:defRPr sz="17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Raleway"/>
              <a:buNone/>
              <a:defRPr sz="17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Raleway"/>
              <a:buNone/>
              <a:defRPr sz="17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Raleway"/>
              <a:buNone/>
              <a:defRPr sz="17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Raleway"/>
              <a:buNone/>
              <a:defRPr sz="17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Raleway"/>
              <a:buNone/>
              <a:defRPr sz="17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Raleway"/>
              <a:buNone/>
              <a:defRPr sz="17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endParaRPr/>
          </a:p>
        </p:txBody>
      </p:sp>
      <p:sp>
        <p:nvSpPr>
          <p:cNvPr id="200" name="Google Shape;200;p31"/>
          <p:cNvSpPr txBox="1">
            <a:spLocks noGrp="1"/>
          </p:cNvSpPr>
          <p:nvPr>
            <p:ph type="subTitle" idx="4"/>
          </p:nvPr>
        </p:nvSpPr>
        <p:spPr>
          <a:xfrm>
            <a:off x="708975" y="2741125"/>
            <a:ext cx="2103000" cy="44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Raleway Thin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Raleway"/>
              <a:buNone/>
              <a:defRPr sz="17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Raleway"/>
              <a:buNone/>
              <a:defRPr sz="17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Raleway"/>
              <a:buNone/>
              <a:defRPr sz="17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Raleway"/>
              <a:buNone/>
              <a:defRPr sz="17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Raleway"/>
              <a:buNone/>
              <a:defRPr sz="17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Raleway"/>
              <a:buNone/>
              <a:defRPr sz="17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Raleway"/>
              <a:buNone/>
              <a:defRPr sz="17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Raleway"/>
              <a:buNone/>
              <a:defRPr sz="17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endParaRPr/>
          </a:p>
        </p:txBody>
      </p:sp>
      <p:sp>
        <p:nvSpPr>
          <p:cNvPr id="201" name="Google Shape;201;p31"/>
          <p:cNvSpPr txBox="1">
            <a:spLocks noGrp="1"/>
          </p:cNvSpPr>
          <p:nvPr>
            <p:ph type="subTitle" idx="5"/>
          </p:nvPr>
        </p:nvSpPr>
        <p:spPr>
          <a:xfrm>
            <a:off x="4446075" y="2742409"/>
            <a:ext cx="2103000" cy="44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Raleway Thin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Raleway"/>
              <a:buNone/>
              <a:defRPr sz="17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Raleway"/>
              <a:buNone/>
              <a:defRPr sz="17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Raleway"/>
              <a:buNone/>
              <a:defRPr sz="17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Raleway"/>
              <a:buNone/>
              <a:defRPr sz="17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Raleway"/>
              <a:buNone/>
              <a:defRPr sz="17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Raleway"/>
              <a:buNone/>
              <a:defRPr sz="17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Raleway"/>
              <a:buNone/>
              <a:defRPr sz="17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Raleway"/>
              <a:buNone/>
              <a:defRPr sz="17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endParaRPr/>
          </a:p>
        </p:txBody>
      </p:sp>
      <p:sp>
        <p:nvSpPr>
          <p:cNvPr id="202" name="Google Shape;202;p31"/>
          <p:cNvSpPr txBox="1">
            <a:spLocks noGrp="1"/>
          </p:cNvSpPr>
          <p:nvPr>
            <p:ph type="subTitle" idx="6"/>
          </p:nvPr>
        </p:nvSpPr>
        <p:spPr>
          <a:xfrm>
            <a:off x="6446325" y="2075675"/>
            <a:ext cx="18744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03" name="Google Shape;203;p31"/>
          <p:cNvSpPr txBox="1">
            <a:spLocks noGrp="1"/>
          </p:cNvSpPr>
          <p:nvPr>
            <p:ph type="subTitle" idx="7"/>
          </p:nvPr>
        </p:nvSpPr>
        <p:spPr>
          <a:xfrm>
            <a:off x="823275" y="3136256"/>
            <a:ext cx="18744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04" name="Google Shape;204;p31"/>
          <p:cNvSpPr txBox="1">
            <a:spLocks noGrp="1"/>
          </p:cNvSpPr>
          <p:nvPr>
            <p:ph type="subTitle" idx="8"/>
          </p:nvPr>
        </p:nvSpPr>
        <p:spPr>
          <a:xfrm>
            <a:off x="4560375" y="3136256"/>
            <a:ext cx="18744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05" name="Google Shape;205;p31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grpSp>
        <p:nvGrpSpPr>
          <p:cNvPr id="206" name="Google Shape;206;p31"/>
          <p:cNvGrpSpPr/>
          <p:nvPr/>
        </p:nvGrpSpPr>
        <p:grpSpPr>
          <a:xfrm>
            <a:off x="270750" y="305956"/>
            <a:ext cx="7172425" cy="3514294"/>
            <a:chOff x="270750" y="305956"/>
            <a:chExt cx="7172425" cy="3514294"/>
          </a:xfrm>
        </p:grpSpPr>
        <p:sp>
          <p:nvSpPr>
            <p:cNvPr id="207" name="Google Shape;207;p31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8" name="Google Shape;208;p31"/>
            <p:cNvSpPr/>
            <p:nvPr/>
          </p:nvSpPr>
          <p:spPr>
            <a:xfrm>
              <a:off x="6871075" y="4450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9" name="Google Shape;209;p31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">
  <p:cSld name="SECTION_TITLE_AND_DESCRIPTION_1_1_3"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Google Shape;211;p32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2" name="Google Shape;212;p32"/>
          <p:cNvSpPr txBox="1">
            <a:spLocks noGrp="1"/>
          </p:cNvSpPr>
          <p:nvPr>
            <p:ph type="title"/>
          </p:nvPr>
        </p:nvSpPr>
        <p:spPr>
          <a:xfrm>
            <a:off x="923550" y="1265863"/>
            <a:ext cx="2190900" cy="44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213" name="Google Shape;213;p32"/>
          <p:cNvSpPr txBox="1">
            <a:spLocks noGrp="1"/>
          </p:cNvSpPr>
          <p:nvPr>
            <p:ph type="subTitle" idx="1"/>
          </p:nvPr>
        </p:nvSpPr>
        <p:spPr>
          <a:xfrm>
            <a:off x="790650" y="1713125"/>
            <a:ext cx="2323800" cy="56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214" name="Google Shape;214;p32"/>
          <p:cNvSpPr txBox="1">
            <a:spLocks noGrp="1"/>
          </p:cNvSpPr>
          <p:nvPr>
            <p:ph type="title" idx="2"/>
          </p:nvPr>
        </p:nvSpPr>
        <p:spPr>
          <a:xfrm>
            <a:off x="923550" y="2668141"/>
            <a:ext cx="2190900" cy="44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215" name="Google Shape;215;p32"/>
          <p:cNvSpPr txBox="1">
            <a:spLocks noGrp="1"/>
          </p:cNvSpPr>
          <p:nvPr>
            <p:ph type="subTitle" idx="3"/>
          </p:nvPr>
        </p:nvSpPr>
        <p:spPr>
          <a:xfrm>
            <a:off x="790650" y="3115418"/>
            <a:ext cx="2323800" cy="56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216" name="Google Shape;216;p32"/>
          <p:cNvSpPr txBox="1">
            <a:spLocks noGrp="1"/>
          </p:cNvSpPr>
          <p:nvPr>
            <p:ph type="title" idx="4"/>
          </p:nvPr>
        </p:nvSpPr>
        <p:spPr>
          <a:xfrm>
            <a:off x="6029625" y="1265863"/>
            <a:ext cx="2190900" cy="44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217" name="Google Shape;217;p32"/>
          <p:cNvSpPr txBox="1">
            <a:spLocks noGrp="1"/>
          </p:cNvSpPr>
          <p:nvPr>
            <p:ph type="subTitle" idx="5"/>
          </p:nvPr>
        </p:nvSpPr>
        <p:spPr>
          <a:xfrm>
            <a:off x="6029625" y="1713125"/>
            <a:ext cx="2323800" cy="56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218" name="Google Shape;218;p32"/>
          <p:cNvSpPr txBox="1">
            <a:spLocks noGrp="1"/>
          </p:cNvSpPr>
          <p:nvPr>
            <p:ph type="title" idx="6"/>
          </p:nvPr>
        </p:nvSpPr>
        <p:spPr>
          <a:xfrm>
            <a:off x="6029625" y="2668143"/>
            <a:ext cx="2190900" cy="44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219" name="Google Shape;219;p32"/>
          <p:cNvSpPr txBox="1">
            <a:spLocks noGrp="1"/>
          </p:cNvSpPr>
          <p:nvPr>
            <p:ph type="subTitle" idx="7"/>
          </p:nvPr>
        </p:nvSpPr>
        <p:spPr>
          <a:xfrm>
            <a:off x="6029625" y="3115418"/>
            <a:ext cx="2323800" cy="56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220" name="Google Shape;220;p32"/>
          <p:cNvSpPr txBox="1">
            <a:spLocks noGrp="1"/>
          </p:cNvSpPr>
          <p:nvPr>
            <p:ph type="title" idx="8"/>
          </p:nvPr>
        </p:nvSpPr>
        <p:spPr>
          <a:xfrm>
            <a:off x="713225" y="445025"/>
            <a:ext cx="77175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grpSp>
        <p:nvGrpSpPr>
          <p:cNvPr id="221" name="Google Shape;221;p32"/>
          <p:cNvGrpSpPr/>
          <p:nvPr/>
        </p:nvGrpSpPr>
        <p:grpSpPr>
          <a:xfrm>
            <a:off x="270750" y="-561264"/>
            <a:ext cx="8627325" cy="2190739"/>
            <a:chOff x="270750" y="-561264"/>
            <a:chExt cx="8627325" cy="2190739"/>
          </a:xfrm>
        </p:grpSpPr>
        <p:grpSp>
          <p:nvGrpSpPr>
            <p:cNvPr id="222" name="Google Shape;222;p32"/>
            <p:cNvGrpSpPr/>
            <p:nvPr/>
          </p:nvGrpSpPr>
          <p:grpSpPr>
            <a:xfrm rot="10800000" flipH="1">
              <a:off x="270750" y="253149"/>
              <a:ext cx="8627325" cy="1376326"/>
              <a:chOff x="270750" y="2965824"/>
              <a:chExt cx="8627325" cy="1376326"/>
            </a:xfrm>
          </p:grpSpPr>
          <p:sp>
            <p:nvSpPr>
              <p:cNvPr id="223" name="Google Shape;223;p32"/>
              <p:cNvSpPr/>
              <p:nvPr/>
            </p:nvSpPr>
            <p:spPr>
              <a:xfrm>
                <a:off x="270750" y="3248150"/>
                <a:ext cx="572100" cy="5721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24" name="Google Shape;224;p32"/>
              <p:cNvSpPr/>
              <p:nvPr/>
            </p:nvSpPr>
            <p:spPr>
              <a:xfrm>
                <a:off x="8301150" y="4048150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25" name="Google Shape;225;p32"/>
              <p:cNvSpPr/>
              <p:nvPr/>
            </p:nvSpPr>
            <p:spPr>
              <a:xfrm>
                <a:off x="8325975" y="296582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226" name="Google Shape;226;p32"/>
            <p:cNvSpPr/>
            <p:nvPr/>
          </p:nvSpPr>
          <p:spPr>
            <a:xfrm rot="-10244201">
              <a:off x="1290109" y="-473041"/>
              <a:ext cx="1192755" cy="1192755"/>
            </a:xfrm>
            <a:prstGeom prst="blockArc">
              <a:avLst>
                <a:gd name="adj1" fmla="val 10247770"/>
                <a:gd name="adj2" fmla="val 21057893"/>
                <a:gd name="adj3" fmla="val 12924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>
  <p:cSld name="TITLE_ONLY_2"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p33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9" name="Google Shape;229;p33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grpSp>
        <p:nvGrpSpPr>
          <p:cNvPr id="230" name="Google Shape;230;p33"/>
          <p:cNvGrpSpPr/>
          <p:nvPr/>
        </p:nvGrpSpPr>
        <p:grpSpPr>
          <a:xfrm>
            <a:off x="193224" y="250521"/>
            <a:ext cx="8719077" cy="4083144"/>
            <a:chOff x="193224" y="250521"/>
            <a:chExt cx="8719077" cy="4083144"/>
          </a:xfrm>
        </p:grpSpPr>
        <p:sp>
          <p:nvSpPr>
            <p:cNvPr id="231" name="Google Shape;231;p33"/>
            <p:cNvSpPr/>
            <p:nvPr/>
          </p:nvSpPr>
          <p:spPr>
            <a:xfrm>
              <a:off x="1717228" y="1859301"/>
              <a:ext cx="470400" cy="4704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2" name="Google Shape;232;p33"/>
            <p:cNvSpPr/>
            <p:nvPr/>
          </p:nvSpPr>
          <p:spPr>
            <a:xfrm>
              <a:off x="8291625" y="4138665"/>
              <a:ext cx="194700" cy="195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3" name="Google Shape;233;p33"/>
            <p:cNvSpPr/>
            <p:nvPr/>
          </p:nvSpPr>
          <p:spPr>
            <a:xfrm>
              <a:off x="8490521" y="250521"/>
              <a:ext cx="379500" cy="37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4" name="Google Shape;234;p33"/>
            <p:cNvSpPr/>
            <p:nvPr/>
          </p:nvSpPr>
          <p:spPr>
            <a:xfrm>
              <a:off x="193224" y="1617493"/>
              <a:ext cx="241500" cy="241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5" name="Google Shape;235;p33"/>
            <p:cNvSpPr/>
            <p:nvPr/>
          </p:nvSpPr>
          <p:spPr>
            <a:xfrm>
              <a:off x="8532801" y="3929875"/>
              <a:ext cx="379500" cy="37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36" name="Google Shape;236;p33"/>
          <p:cNvSpPr txBox="1">
            <a:spLocks noGrp="1"/>
          </p:cNvSpPr>
          <p:nvPr>
            <p:ph type="subTitle" idx="1"/>
          </p:nvPr>
        </p:nvSpPr>
        <p:spPr>
          <a:xfrm>
            <a:off x="2522250" y="1086450"/>
            <a:ext cx="4099500" cy="2857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600"/>
              <a:buChar char="●"/>
              <a:defRPr sz="16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grpSp>
        <p:nvGrpSpPr>
          <p:cNvPr id="237" name="Google Shape;237;p33"/>
          <p:cNvGrpSpPr/>
          <p:nvPr/>
        </p:nvGrpSpPr>
        <p:grpSpPr>
          <a:xfrm rot="10800000" flipH="1">
            <a:off x="604125" y="1056775"/>
            <a:ext cx="8370150" cy="3635150"/>
            <a:chOff x="604125" y="-96626"/>
            <a:chExt cx="8370150" cy="3635150"/>
          </a:xfrm>
        </p:grpSpPr>
        <p:sp>
          <p:nvSpPr>
            <p:cNvPr id="238" name="Google Shape;238;p33"/>
            <p:cNvSpPr/>
            <p:nvPr/>
          </p:nvSpPr>
          <p:spPr>
            <a:xfrm>
              <a:off x="604125" y="258140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9" name="Google Shape;239;p33"/>
            <p:cNvSpPr/>
            <p:nvPr/>
          </p:nvSpPr>
          <p:spPr>
            <a:xfrm>
              <a:off x="8063025" y="27908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0" name="Google Shape;240;p33"/>
            <p:cNvSpPr/>
            <p:nvPr/>
          </p:nvSpPr>
          <p:spPr>
            <a:xfrm>
              <a:off x="7246850" y="-96626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1" name="Google Shape;241;p33"/>
            <p:cNvSpPr/>
            <p:nvPr/>
          </p:nvSpPr>
          <p:spPr>
            <a:xfrm>
              <a:off x="84021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2" name="Google Shape;242;p33"/>
            <p:cNvSpPr/>
            <p:nvPr/>
          </p:nvSpPr>
          <p:spPr>
            <a:xfrm>
              <a:off x="758713" y="4348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3" name="Google Shape;243;p33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16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" name="Google Shape;25;p16"/>
          <p:cNvSpPr txBox="1">
            <a:spLocks noGrp="1"/>
          </p:cNvSpPr>
          <p:nvPr>
            <p:ph type="ctrTitle"/>
          </p:nvPr>
        </p:nvSpPr>
        <p:spPr>
          <a:xfrm>
            <a:off x="427475" y="1408075"/>
            <a:ext cx="4366200" cy="174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4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26" name="Google Shape;26;p16"/>
          <p:cNvSpPr txBox="1">
            <a:spLocks noGrp="1"/>
          </p:cNvSpPr>
          <p:nvPr>
            <p:ph type="subTitle" idx="1"/>
          </p:nvPr>
        </p:nvSpPr>
        <p:spPr>
          <a:xfrm>
            <a:off x="621025" y="3114400"/>
            <a:ext cx="4172700" cy="45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grpSp>
        <p:nvGrpSpPr>
          <p:cNvPr id="27" name="Google Shape;27;p16"/>
          <p:cNvGrpSpPr/>
          <p:nvPr/>
        </p:nvGrpSpPr>
        <p:grpSpPr>
          <a:xfrm>
            <a:off x="231225" y="229756"/>
            <a:ext cx="8724000" cy="4217169"/>
            <a:chOff x="231225" y="229756"/>
            <a:chExt cx="8724000" cy="4217169"/>
          </a:xfrm>
        </p:grpSpPr>
        <p:sp>
          <p:nvSpPr>
            <p:cNvPr id="28" name="Google Shape;28;p16"/>
            <p:cNvSpPr/>
            <p:nvPr/>
          </p:nvSpPr>
          <p:spPr>
            <a:xfrm>
              <a:off x="231225" y="3733500"/>
              <a:ext cx="389700" cy="389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9" name="Google Shape;29;p16"/>
            <p:cNvSpPr/>
            <p:nvPr/>
          </p:nvSpPr>
          <p:spPr>
            <a:xfrm>
              <a:off x="8358300" y="4152925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0" name="Google Shape;30;p16"/>
            <p:cNvSpPr/>
            <p:nvPr/>
          </p:nvSpPr>
          <p:spPr>
            <a:xfrm>
              <a:off x="8383125" y="3550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1" name="Google Shape;31;p16"/>
            <p:cNvSpPr/>
            <p:nvPr/>
          </p:nvSpPr>
          <p:spPr>
            <a:xfrm>
              <a:off x="1556445" y="2297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1">
  <p:cSld name="TITLE_ONLY_1"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34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6" name="Google Shape;246;p34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grpSp>
        <p:nvGrpSpPr>
          <p:cNvPr id="247" name="Google Shape;247;p34"/>
          <p:cNvGrpSpPr/>
          <p:nvPr/>
        </p:nvGrpSpPr>
        <p:grpSpPr>
          <a:xfrm flipH="1">
            <a:off x="466113" y="283325"/>
            <a:ext cx="8310488" cy="4058138"/>
            <a:chOff x="270750" y="369050"/>
            <a:chExt cx="8310488" cy="4058138"/>
          </a:xfrm>
        </p:grpSpPr>
        <p:sp>
          <p:nvSpPr>
            <p:cNvPr id="248" name="Google Shape;248;p34"/>
            <p:cNvSpPr/>
            <p:nvPr/>
          </p:nvSpPr>
          <p:spPr>
            <a:xfrm>
              <a:off x="622525" y="369050"/>
              <a:ext cx="896100" cy="896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9" name="Google Shape;249;p34"/>
            <p:cNvSpPr/>
            <p:nvPr/>
          </p:nvSpPr>
          <p:spPr>
            <a:xfrm>
              <a:off x="270750" y="2638875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0" name="Google Shape;250;p34"/>
            <p:cNvSpPr/>
            <p:nvPr/>
          </p:nvSpPr>
          <p:spPr>
            <a:xfrm rot="10800000">
              <a:off x="8287538" y="3923537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1" name="Google Shape;251;p34"/>
            <p:cNvSpPr/>
            <p:nvPr/>
          </p:nvSpPr>
          <p:spPr>
            <a:xfrm>
              <a:off x="7891375" y="1494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2" name="Google Shape;252;p34"/>
            <p:cNvSpPr/>
            <p:nvPr/>
          </p:nvSpPr>
          <p:spPr>
            <a:xfrm rot="10800000">
              <a:off x="7637888" y="38544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3" name="Google Shape;253;p34"/>
            <p:cNvSpPr/>
            <p:nvPr/>
          </p:nvSpPr>
          <p:spPr>
            <a:xfrm>
              <a:off x="2194400" y="3402713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4" name="Google Shape;254;p34"/>
            <p:cNvSpPr/>
            <p:nvPr/>
          </p:nvSpPr>
          <p:spPr>
            <a:xfrm>
              <a:off x="6692981" y="897169"/>
              <a:ext cx="274200" cy="2745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5" name="Google Shape;255;p34"/>
            <p:cNvSpPr/>
            <p:nvPr/>
          </p:nvSpPr>
          <p:spPr>
            <a:xfrm>
              <a:off x="1661220" y="625231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2">
  <p:cSld name="TITLE_ONLY_1_1"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Google Shape;257;p35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8" name="Google Shape;258;p35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grpSp>
        <p:nvGrpSpPr>
          <p:cNvPr id="259" name="Google Shape;259;p35"/>
          <p:cNvGrpSpPr/>
          <p:nvPr/>
        </p:nvGrpSpPr>
        <p:grpSpPr>
          <a:xfrm flipH="1">
            <a:off x="366000" y="253149"/>
            <a:ext cx="8563397" cy="4105939"/>
            <a:chOff x="536166" y="253149"/>
            <a:chExt cx="8563397" cy="4105939"/>
          </a:xfrm>
        </p:grpSpPr>
        <p:sp>
          <p:nvSpPr>
            <p:cNvPr id="260" name="Google Shape;260;p35"/>
            <p:cNvSpPr/>
            <p:nvPr/>
          </p:nvSpPr>
          <p:spPr>
            <a:xfrm>
              <a:off x="536166" y="349650"/>
              <a:ext cx="860700" cy="860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1" name="Google Shape;261;p35"/>
            <p:cNvSpPr/>
            <p:nvPr/>
          </p:nvSpPr>
          <p:spPr>
            <a:xfrm>
              <a:off x="723100" y="313160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2" name="Google Shape;262;p35"/>
            <p:cNvSpPr/>
            <p:nvPr/>
          </p:nvSpPr>
          <p:spPr>
            <a:xfrm rot="10800000">
              <a:off x="8805863" y="353166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3" name="Google Shape;263;p35"/>
            <p:cNvSpPr/>
            <p:nvPr/>
          </p:nvSpPr>
          <p:spPr>
            <a:xfrm>
              <a:off x="8466300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4" name="Google Shape;264;p35"/>
            <p:cNvSpPr/>
            <p:nvPr/>
          </p:nvSpPr>
          <p:spPr>
            <a:xfrm rot="10800000">
              <a:off x="8272438" y="37863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5" name="Google Shape;265;p35"/>
            <p:cNvSpPr/>
            <p:nvPr/>
          </p:nvSpPr>
          <p:spPr>
            <a:xfrm>
              <a:off x="3585300" y="25428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6" name="Google Shape;266;p35"/>
            <p:cNvSpPr/>
            <p:nvPr/>
          </p:nvSpPr>
          <p:spPr>
            <a:xfrm>
              <a:off x="5778038" y="13197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7" name="Google Shape;267;p35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3">
  <p:cSld name="TITLE_ONLY_1_1_1"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p36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0" name="Google Shape;270;p36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grpSp>
        <p:nvGrpSpPr>
          <p:cNvPr id="271" name="Google Shape;271;p36"/>
          <p:cNvGrpSpPr/>
          <p:nvPr/>
        </p:nvGrpSpPr>
        <p:grpSpPr>
          <a:xfrm flipH="1">
            <a:off x="290298" y="219124"/>
            <a:ext cx="8687225" cy="4649839"/>
            <a:chOff x="412338" y="27249"/>
            <a:chExt cx="8687225" cy="4649839"/>
          </a:xfrm>
        </p:grpSpPr>
        <p:sp>
          <p:nvSpPr>
            <p:cNvPr id="272" name="Google Shape;272;p36"/>
            <p:cNvSpPr/>
            <p:nvPr/>
          </p:nvSpPr>
          <p:spPr>
            <a:xfrm>
              <a:off x="412338" y="904050"/>
              <a:ext cx="687300" cy="6873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73" name="Google Shape;273;p36"/>
            <p:cNvSpPr/>
            <p:nvPr/>
          </p:nvSpPr>
          <p:spPr>
            <a:xfrm>
              <a:off x="959150" y="39782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74" name="Google Shape;274;p36"/>
            <p:cNvSpPr/>
            <p:nvPr/>
          </p:nvSpPr>
          <p:spPr>
            <a:xfrm rot="10800000">
              <a:off x="8805863" y="353166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75" name="Google Shape;275;p36"/>
            <p:cNvSpPr/>
            <p:nvPr/>
          </p:nvSpPr>
          <p:spPr>
            <a:xfrm>
              <a:off x="7399500" y="272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76" name="Google Shape;276;p36"/>
            <p:cNvSpPr/>
            <p:nvPr/>
          </p:nvSpPr>
          <p:spPr>
            <a:xfrm rot="10800000">
              <a:off x="8272438" y="37863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77" name="Google Shape;277;p36"/>
            <p:cNvSpPr/>
            <p:nvPr/>
          </p:nvSpPr>
          <p:spPr>
            <a:xfrm>
              <a:off x="6661875" y="415628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78" name="Google Shape;278;p36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s">
  <p:cSld name="CUSTOM_1_1_1_1"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" name="Google Shape;280;p37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1" name="Google Shape;281;p37"/>
          <p:cNvSpPr txBox="1">
            <a:spLocks noGrp="1"/>
          </p:cNvSpPr>
          <p:nvPr>
            <p:ph type="title"/>
          </p:nvPr>
        </p:nvSpPr>
        <p:spPr>
          <a:xfrm>
            <a:off x="2676900" y="745875"/>
            <a:ext cx="3790200" cy="71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282" name="Google Shape;282;p37"/>
          <p:cNvSpPr txBox="1">
            <a:spLocks noGrp="1"/>
          </p:cNvSpPr>
          <p:nvPr>
            <p:ph type="subTitle" idx="1"/>
          </p:nvPr>
        </p:nvSpPr>
        <p:spPr>
          <a:xfrm>
            <a:off x="2983301" y="1546125"/>
            <a:ext cx="3177300" cy="1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3" name="Google Shape;283;p37"/>
          <p:cNvSpPr txBox="1"/>
          <p:nvPr/>
        </p:nvSpPr>
        <p:spPr>
          <a:xfrm>
            <a:off x="2905650" y="3292575"/>
            <a:ext cx="3332700" cy="71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200" b="0" i="0" u="none" strike="noStrike" cap="none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CREDITS: This presentation template was created by </a:t>
            </a:r>
            <a:r>
              <a:rPr lang="en" sz="1200" b="1" i="0" u="none" strike="noStrike" cap="none">
                <a:solidFill>
                  <a:schemeClr val="dk1"/>
                </a:solidFill>
                <a:uFill>
                  <a:noFill/>
                </a:uFill>
                <a:latin typeface="Libre Franklin"/>
                <a:ea typeface="Libre Franklin"/>
                <a:cs typeface="Libre Franklin"/>
                <a:sym typeface="Libre Franklin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" sz="1200" b="0" i="0" u="none" strike="noStrike" cap="none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, including icons by </a:t>
            </a:r>
            <a:r>
              <a:rPr lang="en" sz="1200" b="1" i="0" u="none" strike="noStrike" cap="none">
                <a:solidFill>
                  <a:schemeClr val="dk1"/>
                </a:solidFill>
                <a:uFill>
                  <a:noFill/>
                </a:uFill>
                <a:latin typeface="Libre Franklin"/>
                <a:ea typeface="Libre Franklin"/>
                <a:cs typeface="Libre Franklin"/>
                <a:sym typeface="Libre Franklin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</a:t>
            </a:r>
            <a:r>
              <a:rPr lang="en" sz="1200" b="0" i="0" u="none" strike="noStrike" cap="none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, infographics &amp; images by </a:t>
            </a:r>
            <a:r>
              <a:rPr lang="en" sz="1200" b="1" i="0" u="none" strike="noStrike" cap="none">
                <a:solidFill>
                  <a:schemeClr val="dk1"/>
                </a:solidFill>
                <a:uFill>
                  <a:noFill/>
                </a:uFill>
                <a:latin typeface="Libre Franklin"/>
                <a:ea typeface="Libre Franklin"/>
                <a:cs typeface="Libre Franklin"/>
                <a:sym typeface="Libre Franklin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eepik</a:t>
            </a:r>
            <a:endParaRPr sz="1200" b="1" i="0" u="none" strike="noStrike" cap="none">
              <a:solidFill>
                <a:schemeClr val="dk1"/>
              </a:solidFill>
              <a:latin typeface="Libre Franklin"/>
              <a:ea typeface="Libre Franklin"/>
              <a:cs typeface="Libre Franklin"/>
              <a:sym typeface="Libre Franklin"/>
            </a:endParaRPr>
          </a:p>
        </p:txBody>
      </p:sp>
      <p:sp>
        <p:nvSpPr>
          <p:cNvPr id="284" name="Google Shape;284;p37"/>
          <p:cNvSpPr/>
          <p:nvPr/>
        </p:nvSpPr>
        <p:spPr>
          <a:xfrm>
            <a:off x="6648388" y="2571750"/>
            <a:ext cx="1189800" cy="11898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5" name="Google Shape;285;p37"/>
          <p:cNvSpPr/>
          <p:nvPr/>
        </p:nvSpPr>
        <p:spPr>
          <a:xfrm>
            <a:off x="2206275" y="3477100"/>
            <a:ext cx="572100" cy="5721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6" name="Google Shape;286;p37"/>
          <p:cNvSpPr/>
          <p:nvPr/>
        </p:nvSpPr>
        <p:spPr>
          <a:xfrm>
            <a:off x="8301150" y="4048150"/>
            <a:ext cx="293700" cy="2940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7" name="Google Shape;287;p37"/>
          <p:cNvSpPr/>
          <p:nvPr/>
        </p:nvSpPr>
        <p:spPr>
          <a:xfrm>
            <a:off x="6435375" y="272899"/>
            <a:ext cx="572100" cy="5727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8" name="Google Shape;288;p37"/>
          <p:cNvSpPr/>
          <p:nvPr/>
        </p:nvSpPr>
        <p:spPr>
          <a:xfrm>
            <a:off x="886950" y="1064474"/>
            <a:ext cx="572100" cy="5727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9" name="Google Shape;289;p37"/>
          <p:cNvSpPr/>
          <p:nvPr/>
        </p:nvSpPr>
        <p:spPr>
          <a:xfrm>
            <a:off x="1409475" y="2378025"/>
            <a:ext cx="520200" cy="5208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0" name="Google Shape;290;p37"/>
          <p:cNvSpPr/>
          <p:nvPr/>
        </p:nvSpPr>
        <p:spPr>
          <a:xfrm>
            <a:off x="8168788" y="1677663"/>
            <a:ext cx="520200" cy="5208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1" name="Google Shape;291;p37"/>
          <p:cNvSpPr/>
          <p:nvPr/>
        </p:nvSpPr>
        <p:spPr>
          <a:xfrm>
            <a:off x="632520" y="1546131"/>
            <a:ext cx="293700" cy="2940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>
  <p:cSld name="TITLE_ONLY_1_2">
    <p:spTree>
      <p:nvGrpSpPr>
        <p:cNvPr id="1" name="Shape 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Google Shape;293;p38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294" name="Google Shape;294;p38"/>
          <p:cNvGrpSpPr/>
          <p:nvPr/>
        </p:nvGrpSpPr>
        <p:grpSpPr>
          <a:xfrm flipH="1">
            <a:off x="466113" y="283325"/>
            <a:ext cx="8310488" cy="4058138"/>
            <a:chOff x="270750" y="369050"/>
            <a:chExt cx="8310488" cy="4058138"/>
          </a:xfrm>
        </p:grpSpPr>
        <p:sp>
          <p:nvSpPr>
            <p:cNvPr id="295" name="Google Shape;295;p38"/>
            <p:cNvSpPr/>
            <p:nvPr/>
          </p:nvSpPr>
          <p:spPr>
            <a:xfrm>
              <a:off x="622525" y="369050"/>
              <a:ext cx="896100" cy="896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96" name="Google Shape;296;p38"/>
            <p:cNvSpPr/>
            <p:nvPr/>
          </p:nvSpPr>
          <p:spPr>
            <a:xfrm>
              <a:off x="270750" y="2638875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97" name="Google Shape;297;p38"/>
            <p:cNvSpPr/>
            <p:nvPr/>
          </p:nvSpPr>
          <p:spPr>
            <a:xfrm rot="10800000">
              <a:off x="8287538" y="3923537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98" name="Google Shape;298;p38"/>
            <p:cNvSpPr/>
            <p:nvPr/>
          </p:nvSpPr>
          <p:spPr>
            <a:xfrm>
              <a:off x="7891375" y="1494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99" name="Google Shape;299;p38"/>
            <p:cNvSpPr/>
            <p:nvPr/>
          </p:nvSpPr>
          <p:spPr>
            <a:xfrm rot="10800000">
              <a:off x="7637888" y="38544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00" name="Google Shape;300;p38"/>
            <p:cNvSpPr/>
            <p:nvPr/>
          </p:nvSpPr>
          <p:spPr>
            <a:xfrm>
              <a:off x="2194400" y="3402713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01" name="Google Shape;301;p38"/>
            <p:cNvSpPr/>
            <p:nvPr/>
          </p:nvSpPr>
          <p:spPr>
            <a:xfrm>
              <a:off x="6692981" y="897169"/>
              <a:ext cx="274200" cy="2745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02" name="Google Shape;302;p38"/>
            <p:cNvSpPr/>
            <p:nvPr/>
          </p:nvSpPr>
          <p:spPr>
            <a:xfrm>
              <a:off x="1661220" y="625231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2">
  <p:cSld name="TITLE_ONLY_1_1_2"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p39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305" name="Google Shape;305;p39"/>
          <p:cNvGrpSpPr/>
          <p:nvPr/>
        </p:nvGrpSpPr>
        <p:grpSpPr>
          <a:xfrm flipH="1">
            <a:off x="366000" y="253149"/>
            <a:ext cx="8563397" cy="4105939"/>
            <a:chOff x="536166" y="253149"/>
            <a:chExt cx="8563397" cy="4105939"/>
          </a:xfrm>
        </p:grpSpPr>
        <p:sp>
          <p:nvSpPr>
            <p:cNvPr id="306" name="Google Shape;306;p39"/>
            <p:cNvSpPr/>
            <p:nvPr/>
          </p:nvSpPr>
          <p:spPr>
            <a:xfrm>
              <a:off x="536166" y="349650"/>
              <a:ext cx="860700" cy="860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07" name="Google Shape;307;p39"/>
            <p:cNvSpPr/>
            <p:nvPr/>
          </p:nvSpPr>
          <p:spPr>
            <a:xfrm>
              <a:off x="723100" y="313160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08" name="Google Shape;308;p39"/>
            <p:cNvSpPr/>
            <p:nvPr/>
          </p:nvSpPr>
          <p:spPr>
            <a:xfrm rot="10800000">
              <a:off x="8805863" y="353166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09" name="Google Shape;309;p39"/>
            <p:cNvSpPr/>
            <p:nvPr/>
          </p:nvSpPr>
          <p:spPr>
            <a:xfrm>
              <a:off x="8466300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10" name="Google Shape;310;p39"/>
            <p:cNvSpPr/>
            <p:nvPr/>
          </p:nvSpPr>
          <p:spPr>
            <a:xfrm rot="10800000">
              <a:off x="8272438" y="37863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11" name="Google Shape;311;p39"/>
            <p:cNvSpPr/>
            <p:nvPr/>
          </p:nvSpPr>
          <p:spPr>
            <a:xfrm>
              <a:off x="3585300" y="25428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12" name="Google Shape;312;p39"/>
            <p:cNvSpPr/>
            <p:nvPr/>
          </p:nvSpPr>
          <p:spPr>
            <a:xfrm>
              <a:off x="5778038" y="13197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13" name="Google Shape;313;p39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3">
  <p:cSld name="TITLE_ONLY_1_1_1_1">
    <p:spTree>
      <p:nvGrpSpPr>
        <p:cNvPr id="1" name="Shape 3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Google Shape;315;p40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316" name="Google Shape;316;p40"/>
          <p:cNvGrpSpPr/>
          <p:nvPr/>
        </p:nvGrpSpPr>
        <p:grpSpPr>
          <a:xfrm flipH="1">
            <a:off x="290298" y="219124"/>
            <a:ext cx="8687225" cy="4649839"/>
            <a:chOff x="412338" y="27249"/>
            <a:chExt cx="8687225" cy="4649839"/>
          </a:xfrm>
        </p:grpSpPr>
        <p:sp>
          <p:nvSpPr>
            <p:cNvPr id="317" name="Google Shape;317;p40"/>
            <p:cNvSpPr/>
            <p:nvPr/>
          </p:nvSpPr>
          <p:spPr>
            <a:xfrm>
              <a:off x="412338" y="904050"/>
              <a:ext cx="687300" cy="6873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18" name="Google Shape;318;p40"/>
            <p:cNvSpPr/>
            <p:nvPr/>
          </p:nvSpPr>
          <p:spPr>
            <a:xfrm>
              <a:off x="959150" y="39782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19" name="Google Shape;319;p40"/>
            <p:cNvSpPr/>
            <p:nvPr/>
          </p:nvSpPr>
          <p:spPr>
            <a:xfrm rot="10800000">
              <a:off x="8805863" y="353166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20" name="Google Shape;320;p40"/>
            <p:cNvSpPr/>
            <p:nvPr/>
          </p:nvSpPr>
          <p:spPr>
            <a:xfrm>
              <a:off x="7399500" y="272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21" name="Google Shape;321;p40"/>
            <p:cNvSpPr/>
            <p:nvPr/>
          </p:nvSpPr>
          <p:spPr>
            <a:xfrm rot="10800000">
              <a:off x="8272438" y="37863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22" name="Google Shape;322;p40"/>
            <p:cNvSpPr/>
            <p:nvPr/>
          </p:nvSpPr>
          <p:spPr>
            <a:xfrm>
              <a:off x="6661875" y="415628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23" name="Google Shape;323;p40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4">
  <p:cSld name="CUSTOM_2_1"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p41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326" name="Google Shape;326;p41"/>
          <p:cNvGrpSpPr/>
          <p:nvPr/>
        </p:nvGrpSpPr>
        <p:grpSpPr>
          <a:xfrm>
            <a:off x="270750" y="-561264"/>
            <a:ext cx="8627325" cy="4964025"/>
            <a:chOff x="270750" y="-561264"/>
            <a:chExt cx="8627325" cy="4964025"/>
          </a:xfrm>
        </p:grpSpPr>
        <p:grpSp>
          <p:nvGrpSpPr>
            <p:cNvPr id="327" name="Google Shape;327;p41"/>
            <p:cNvGrpSpPr/>
            <p:nvPr/>
          </p:nvGrpSpPr>
          <p:grpSpPr>
            <a:xfrm rot="10800000" flipH="1">
              <a:off x="270750" y="253149"/>
              <a:ext cx="8627325" cy="4149612"/>
              <a:chOff x="270750" y="192538"/>
              <a:chExt cx="8627325" cy="4149612"/>
            </a:xfrm>
          </p:grpSpPr>
          <p:sp>
            <p:nvSpPr>
              <p:cNvPr id="328" name="Google Shape;328;p41"/>
              <p:cNvSpPr/>
              <p:nvPr/>
            </p:nvSpPr>
            <p:spPr>
              <a:xfrm>
                <a:off x="270750" y="3248150"/>
                <a:ext cx="572100" cy="5721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29" name="Google Shape;329;p41"/>
              <p:cNvSpPr/>
              <p:nvPr/>
            </p:nvSpPr>
            <p:spPr>
              <a:xfrm>
                <a:off x="8301150" y="4048150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30" name="Google Shape;330;p41"/>
              <p:cNvSpPr/>
              <p:nvPr/>
            </p:nvSpPr>
            <p:spPr>
              <a:xfrm>
                <a:off x="7218275" y="36057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31" name="Google Shape;331;p41"/>
              <p:cNvSpPr/>
              <p:nvPr/>
            </p:nvSpPr>
            <p:spPr>
              <a:xfrm>
                <a:off x="8325975" y="296582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32" name="Google Shape;332;p41"/>
              <p:cNvSpPr/>
              <p:nvPr/>
            </p:nvSpPr>
            <p:spPr>
              <a:xfrm>
                <a:off x="817013" y="192538"/>
                <a:ext cx="520200" cy="5208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33" name="Google Shape;333;p41"/>
              <p:cNvSpPr/>
              <p:nvPr/>
            </p:nvSpPr>
            <p:spPr>
              <a:xfrm>
                <a:off x="1337220" y="250706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334" name="Google Shape;334;p41"/>
            <p:cNvSpPr/>
            <p:nvPr/>
          </p:nvSpPr>
          <p:spPr>
            <a:xfrm rot="-10244201">
              <a:off x="1290109" y="-473041"/>
              <a:ext cx="1192755" cy="1192755"/>
            </a:xfrm>
            <a:prstGeom prst="blockArc">
              <a:avLst>
                <a:gd name="adj1" fmla="val 10247770"/>
                <a:gd name="adj2" fmla="val 21057893"/>
                <a:gd name="adj3" fmla="val 12924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&amp; CONTENT">
  <p:cSld name="1_TITLE &amp; CONTENT">
    <p:spTree>
      <p:nvGrpSpPr>
        <p:cNvPr id="1" name="Shape 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Google Shape;339;g21570a8a96d_0_512"/>
          <p:cNvSpPr txBox="1">
            <a:spLocks noGrp="1"/>
          </p:cNvSpPr>
          <p:nvPr>
            <p:ph type="title"/>
          </p:nvPr>
        </p:nvSpPr>
        <p:spPr>
          <a:xfrm>
            <a:off x="405053" y="324000"/>
            <a:ext cx="8333400" cy="81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0" name="Google Shape;340;g21570a8a96d_0_512"/>
          <p:cNvSpPr txBox="1">
            <a:spLocks noGrp="1"/>
          </p:cNvSpPr>
          <p:nvPr>
            <p:ph type="body" idx="1"/>
          </p:nvPr>
        </p:nvSpPr>
        <p:spPr>
          <a:xfrm>
            <a:off x="405053" y="729000"/>
            <a:ext cx="8333400" cy="40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650"/>
              <a:buNone/>
              <a:defRPr>
                <a:solidFill>
                  <a:srgbClr val="7F7F7F"/>
                </a:solidFill>
              </a:defRPr>
            </a:lvl1pPr>
            <a:lvl2pPr marL="914400" lvl="1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5pPr>
            <a:lvl6pPr marL="2743200" lvl="5" indent="-342900" algn="l" rtl="0"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1" name="Google Shape;341;g21570a8a96d_0_512"/>
          <p:cNvSpPr txBox="1">
            <a:spLocks noGrp="1"/>
          </p:cNvSpPr>
          <p:nvPr>
            <p:ph type="body" idx="2"/>
          </p:nvPr>
        </p:nvSpPr>
        <p:spPr>
          <a:xfrm>
            <a:off x="405053" y="1134000"/>
            <a:ext cx="8333400" cy="322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5pPr>
            <a:lvl6pPr marL="2743200" lvl="5" indent="-342900" algn="l" rtl="0"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CENTER">
  <p:cSld name="TITLE SLIDE CENTER">
    <p:bg>
      <p:bgPr>
        <a:solidFill>
          <a:srgbClr val="262626"/>
        </a:solidFill>
        <a:effectLst/>
      </p:bgPr>
    </p:bg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Google Shape;343;g21570a8a96d_0_516"/>
          <p:cNvSpPr>
            <a:spLocks noGrp="1"/>
          </p:cNvSpPr>
          <p:nvPr>
            <p:ph type="pic" idx="2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D8D8D8"/>
          </a:solidFill>
          <a:ln>
            <a:noFill/>
          </a:ln>
        </p:spPr>
      </p:sp>
      <p:sp>
        <p:nvSpPr>
          <p:cNvPr id="344" name="Google Shape;344;g21570a8a96d_0_516"/>
          <p:cNvSpPr txBox="1">
            <a:spLocks noGrp="1"/>
          </p:cNvSpPr>
          <p:nvPr>
            <p:ph type="ctrTitle"/>
          </p:nvPr>
        </p:nvSpPr>
        <p:spPr>
          <a:xfrm>
            <a:off x="791508" y="0"/>
            <a:ext cx="7560900" cy="280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600"/>
              <a:buFont typeface="Bebas Neue"/>
              <a:buNone/>
              <a:defRPr sz="6600">
                <a:solidFill>
                  <a:srgbClr val="FFFFFF"/>
                </a:solidFill>
                <a:latin typeface="Bebas Neue"/>
                <a:ea typeface="Bebas Neue"/>
                <a:cs typeface="Bebas Neue"/>
                <a:sym typeface="Bebas Neue"/>
              </a:defRPr>
            </a:lvl1pPr>
            <a:lvl2pPr lvl="1" rtl="0">
              <a:spcBef>
                <a:spcPts val="75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5" name="Google Shape;345;g21570a8a96d_0_516"/>
          <p:cNvSpPr txBox="1">
            <a:spLocks noGrp="1"/>
          </p:cNvSpPr>
          <p:nvPr>
            <p:ph type="subTitle" idx="1"/>
          </p:nvPr>
        </p:nvSpPr>
        <p:spPr>
          <a:xfrm>
            <a:off x="791508" y="2808000"/>
            <a:ext cx="7560900" cy="1552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A5A5A5"/>
              </a:buClr>
              <a:buSzPts val="3300"/>
              <a:buNone/>
              <a:defRPr sz="3300">
                <a:solidFill>
                  <a:srgbClr val="A5A5A5"/>
                </a:solidFill>
              </a:defRPr>
            </a:lvl1pPr>
            <a:lvl2pPr lvl="1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2pPr>
            <a:lvl3pPr lvl="2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888888"/>
              </a:buClr>
              <a:buSzPts val="1350"/>
              <a:buNone/>
              <a:defRPr>
                <a:solidFill>
                  <a:srgbClr val="888888"/>
                </a:solidFill>
              </a:defRPr>
            </a:lvl3pPr>
            <a:lvl4pPr lvl="3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>
                <a:solidFill>
                  <a:srgbClr val="888888"/>
                </a:solidFill>
              </a:defRPr>
            </a:lvl4pPr>
            <a:lvl5pPr lvl="4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>
                <a:solidFill>
                  <a:srgbClr val="888888"/>
                </a:solidFill>
              </a:defRPr>
            </a:lvl5pPr>
            <a:lvl6pPr lvl="5" algn="ctr" rtl="0">
              <a:spcBef>
                <a:spcPts val="75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6pPr>
            <a:lvl7pPr lvl="6" algn="ctr" rtl="0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7pPr>
            <a:lvl8pPr lvl="7" algn="ctr" rtl="0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8pPr>
            <a:lvl9pPr lvl="8" algn="ctr" rtl="0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17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" name="Google Shape;34;p17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17"/>
          <p:cNvSpPr txBox="1">
            <a:spLocks noGrp="1"/>
          </p:cNvSpPr>
          <p:nvPr>
            <p:ph type="body" idx="1"/>
          </p:nvPr>
        </p:nvSpPr>
        <p:spPr>
          <a:xfrm>
            <a:off x="713225" y="1036775"/>
            <a:ext cx="7717500" cy="334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0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Livvic"/>
              <a:buAutoNum type="arabicPeriod"/>
              <a:defRPr sz="1200">
                <a:latin typeface="Arial"/>
                <a:ea typeface="Arial"/>
                <a:cs typeface="Arial"/>
                <a:sym typeface="Arial"/>
              </a:defRPr>
            </a:lvl1pPr>
            <a:lvl2pPr marL="914400" lvl="1" indent="-30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/>
            </a:lvl2pPr>
            <a:lvl3pPr marL="1371600" lvl="2" indent="-30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/>
            </a:lvl3pPr>
            <a:lvl4pPr marL="1828800" lvl="3" indent="-30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rabicPeriod"/>
              <a:defRPr/>
            </a:lvl4pPr>
            <a:lvl5pPr marL="2286000" lvl="4" indent="-30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/>
            </a:lvl5pPr>
            <a:lvl6pPr marL="2743200" lvl="5" indent="-30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/>
            </a:lvl6pPr>
            <a:lvl7pPr marL="3200400" lvl="6" indent="-30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rabicPeriod"/>
              <a:defRPr/>
            </a:lvl7pPr>
            <a:lvl8pPr marL="3657600" lvl="7" indent="-30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/>
            </a:lvl8pPr>
            <a:lvl9pPr marL="4114800" lvl="8" indent="-30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/>
            </a:lvl9pPr>
          </a:lstStyle>
          <a:p>
            <a:endParaRPr/>
          </a:p>
        </p:txBody>
      </p:sp>
      <p:grpSp>
        <p:nvGrpSpPr>
          <p:cNvPr id="36" name="Google Shape;36;p17"/>
          <p:cNvGrpSpPr/>
          <p:nvPr/>
        </p:nvGrpSpPr>
        <p:grpSpPr>
          <a:xfrm flipH="1">
            <a:off x="165975" y="229756"/>
            <a:ext cx="8684475" cy="4217169"/>
            <a:chOff x="270750" y="229756"/>
            <a:chExt cx="8684475" cy="4217169"/>
          </a:xfrm>
        </p:grpSpPr>
        <p:sp>
          <p:nvSpPr>
            <p:cNvPr id="37" name="Google Shape;37;p17"/>
            <p:cNvSpPr/>
            <p:nvPr/>
          </p:nvSpPr>
          <p:spPr>
            <a:xfrm>
              <a:off x="270750" y="34005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8" name="Google Shape;38;p17"/>
            <p:cNvSpPr/>
            <p:nvPr/>
          </p:nvSpPr>
          <p:spPr>
            <a:xfrm>
              <a:off x="8358300" y="4152925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9" name="Google Shape;39;p17"/>
            <p:cNvSpPr/>
            <p:nvPr/>
          </p:nvSpPr>
          <p:spPr>
            <a:xfrm>
              <a:off x="8383125" y="3550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0" name="Google Shape;40;p17"/>
            <p:cNvSpPr/>
            <p:nvPr/>
          </p:nvSpPr>
          <p:spPr>
            <a:xfrm>
              <a:off x="1556445" y="2297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AGENDA">
  <p:cSld name="4_AGENDA">
    <p:spTree>
      <p:nvGrpSpPr>
        <p:cNvPr id="1" name="Shape 3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7" name="Google Shape;347;g21570a8a96d_0_520"/>
          <p:cNvSpPr>
            <a:spLocks noGrp="1"/>
          </p:cNvSpPr>
          <p:nvPr>
            <p:ph type="pic" idx="2"/>
          </p:nvPr>
        </p:nvSpPr>
        <p:spPr>
          <a:xfrm>
            <a:off x="5460112" y="1134000"/>
            <a:ext cx="1593300" cy="999000"/>
          </a:xfrm>
          <a:prstGeom prst="rect">
            <a:avLst/>
          </a:prstGeom>
          <a:solidFill>
            <a:srgbClr val="D8D8D8"/>
          </a:solidFill>
          <a:ln>
            <a:noFill/>
          </a:ln>
        </p:spPr>
      </p:sp>
      <p:sp>
        <p:nvSpPr>
          <p:cNvPr id="348" name="Google Shape;348;g21570a8a96d_0_520"/>
          <p:cNvSpPr>
            <a:spLocks noGrp="1"/>
          </p:cNvSpPr>
          <p:nvPr>
            <p:ph type="pic" idx="3"/>
          </p:nvPr>
        </p:nvSpPr>
        <p:spPr>
          <a:xfrm>
            <a:off x="5460112" y="2246400"/>
            <a:ext cx="1593300" cy="999000"/>
          </a:xfrm>
          <a:prstGeom prst="rect">
            <a:avLst/>
          </a:prstGeom>
          <a:solidFill>
            <a:srgbClr val="D8D8D8"/>
          </a:solidFill>
          <a:ln>
            <a:noFill/>
          </a:ln>
        </p:spPr>
      </p:sp>
      <p:sp>
        <p:nvSpPr>
          <p:cNvPr id="349" name="Google Shape;349;g21570a8a96d_0_520"/>
          <p:cNvSpPr>
            <a:spLocks noGrp="1"/>
          </p:cNvSpPr>
          <p:nvPr>
            <p:ph type="pic" idx="4"/>
          </p:nvPr>
        </p:nvSpPr>
        <p:spPr>
          <a:xfrm>
            <a:off x="2090074" y="1134000"/>
            <a:ext cx="1593300" cy="999000"/>
          </a:xfrm>
          <a:prstGeom prst="rect">
            <a:avLst/>
          </a:prstGeom>
          <a:solidFill>
            <a:srgbClr val="D8D8D8"/>
          </a:solidFill>
          <a:ln>
            <a:noFill/>
          </a:ln>
        </p:spPr>
      </p:sp>
      <p:sp>
        <p:nvSpPr>
          <p:cNvPr id="350" name="Google Shape;350;g21570a8a96d_0_520"/>
          <p:cNvSpPr>
            <a:spLocks noGrp="1"/>
          </p:cNvSpPr>
          <p:nvPr>
            <p:ph type="pic" idx="5"/>
          </p:nvPr>
        </p:nvSpPr>
        <p:spPr>
          <a:xfrm>
            <a:off x="2090074" y="2246400"/>
            <a:ext cx="1593300" cy="999000"/>
          </a:xfrm>
          <a:prstGeom prst="rect">
            <a:avLst/>
          </a:prstGeom>
          <a:solidFill>
            <a:srgbClr val="D8D8D8"/>
          </a:solidFill>
          <a:ln>
            <a:noFill/>
          </a:ln>
        </p:spPr>
      </p:sp>
      <p:sp>
        <p:nvSpPr>
          <p:cNvPr id="351" name="Google Shape;351;g21570a8a96d_0_520"/>
          <p:cNvSpPr>
            <a:spLocks noGrp="1"/>
          </p:cNvSpPr>
          <p:nvPr>
            <p:ph type="pic" idx="6"/>
          </p:nvPr>
        </p:nvSpPr>
        <p:spPr>
          <a:xfrm>
            <a:off x="405055" y="3358800"/>
            <a:ext cx="4113600" cy="999000"/>
          </a:xfrm>
          <a:prstGeom prst="rect">
            <a:avLst/>
          </a:prstGeom>
          <a:solidFill>
            <a:srgbClr val="D8D8D8"/>
          </a:solidFill>
          <a:ln>
            <a:noFill/>
          </a:ln>
        </p:spPr>
      </p:sp>
      <p:sp>
        <p:nvSpPr>
          <p:cNvPr id="352" name="Google Shape;352;g21570a8a96d_0_520"/>
          <p:cNvSpPr>
            <a:spLocks noGrp="1"/>
          </p:cNvSpPr>
          <p:nvPr>
            <p:ph type="pic" idx="7"/>
          </p:nvPr>
        </p:nvSpPr>
        <p:spPr>
          <a:xfrm>
            <a:off x="4624805" y="3358800"/>
            <a:ext cx="4113600" cy="999000"/>
          </a:xfrm>
          <a:prstGeom prst="rect">
            <a:avLst/>
          </a:prstGeom>
          <a:solidFill>
            <a:srgbClr val="D8D8D8"/>
          </a:solidFill>
          <a:ln>
            <a:noFill/>
          </a:ln>
        </p:spPr>
      </p:sp>
      <p:sp>
        <p:nvSpPr>
          <p:cNvPr id="353" name="Google Shape;353;g21570a8a96d_0_520"/>
          <p:cNvSpPr>
            <a:spLocks noGrp="1"/>
          </p:cNvSpPr>
          <p:nvPr>
            <p:ph type="pic" idx="8"/>
          </p:nvPr>
        </p:nvSpPr>
        <p:spPr>
          <a:xfrm>
            <a:off x="3775093" y="1134000"/>
            <a:ext cx="1593300" cy="2111400"/>
          </a:xfrm>
          <a:prstGeom prst="rect">
            <a:avLst/>
          </a:prstGeom>
          <a:solidFill>
            <a:srgbClr val="D8D8D8"/>
          </a:solidFill>
          <a:ln>
            <a:noFill/>
          </a:ln>
        </p:spPr>
      </p:sp>
      <p:sp>
        <p:nvSpPr>
          <p:cNvPr id="354" name="Google Shape;354;g21570a8a96d_0_520"/>
          <p:cNvSpPr>
            <a:spLocks noGrp="1"/>
          </p:cNvSpPr>
          <p:nvPr>
            <p:ph type="pic" idx="9"/>
          </p:nvPr>
        </p:nvSpPr>
        <p:spPr>
          <a:xfrm>
            <a:off x="7145131" y="1134000"/>
            <a:ext cx="1593300" cy="2111400"/>
          </a:xfrm>
          <a:prstGeom prst="rect">
            <a:avLst/>
          </a:prstGeom>
          <a:solidFill>
            <a:srgbClr val="D8D8D8"/>
          </a:solidFill>
          <a:ln>
            <a:noFill/>
          </a:ln>
        </p:spPr>
      </p:sp>
      <p:sp>
        <p:nvSpPr>
          <p:cNvPr id="355" name="Google Shape;355;g21570a8a96d_0_520"/>
          <p:cNvSpPr txBox="1">
            <a:spLocks noGrp="1"/>
          </p:cNvSpPr>
          <p:nvPr>
            <p:ph type="body" idx="1"/>
          </p:nvPr>
        </p:nvSpPr>
        <p:spPr>
          <a:xfrm>
            <a:off x="405054" y="3358800"/>
            <a:ext cx="4113600" cy="99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4850" tIns="674325" rIns="134850" bIns="80900" anchor="b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50"/>
              <a:buNone/>
              <a:defRPr>
                <a:solidFill>
                  <a:schemeClr val="lt1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1"/>
              </a:buClr>
              <a:buSzPts val="135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>
                <a:solidFill>
                  <a:schemeClr val="lt1"/>
                </a:solidFill>
              </a:defRPr>
            </a:lvl5pPr>
            <a:lvl6pPr marL="2743200" lvl="5" indent="-342900" algn="l" rtl="0"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6" name="Google Shape;356;g21570a8a96d_0_520"/>
          <p:cNvSpPr txBox="1">
            <a:spLocks noGrp="1"/>
          </p:cNvSpPr>
          <p:nvPr>
            <p:ph type="body" idx="13"/>
          </p:nvPr>
        </p:nvSpPr>
        <p:spPr>
          <a:xfrm>
            <a:off x="4624804" y="3358800"/>
            <a:ext cx="4113600" cy="99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4850" tIns="674325" rIns="134850" bIns="80900" anchor="b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50"/>
              <a:buNone/>
              <a:defRPr>
                <a:solidFill>
                  <a:schemeClr val="lt1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1"/>
              </a:buClr>
              <a:buSzPts val="135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>
                <a:solidFill>
                  <a:schemeClr val="lt1"/>
                </a:solidFill>
              </a:defRPr>
            </a:lvl5pPr>
            <a:lvl6pPr marL="2743200" lvl="5" indent="-342900" algn="l" rtl="0"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7" name="Google Shape;357;g21570a8a96d_0_520"/>
          <p:cNvSpPr txBox="1">
            <a:spLocks noGrp="1"/>
          </p:cNvSpPr>
          <p:nvPr>
            <p:ph type="body" idx="14"/>
          </p:nvPr>
        </p:nvSpPr>
        <p:spPr>
          <a:xfrm>
            <a:off x="3775093" y="1134000"/>
            <a:ext cx="1593300" cy="211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4850" tIns="674325" rIns="134850" bIns="80900" anchor="b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50"/>
              <a:buNone/>
              <a:defRPr>
                <a:solidFill>
                  <a:schemeClr val="lt1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1"/>
              </a:buClr>
              <a:buSzPts val="135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>
                <a:solidFill>
                  <a:schemeClr val="lt1"/>
                </a:solidFill>
              </a:defRPr>
            </a:lvl5pPr>
            <a:lvl6pPr marL="2743200" lvl="5" indent="-342900" algn="l" rtl="0"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8" name="Google Shape;358;g21570a8a96d_0_520"/>
          <p:cNvSpPr txBox="1">
            <a:spLocks noGrp="1"/>
          </p:cNvSpPr>
          <p:nvPr>
            <p:ph type="body" idx="15"/>
          </p:nvPr>
        </p:nvSpPr>
        <p:spPr>
          <a:xfrm>
            <a:off x="5460112" y="1134000"/>
            <a:ext cx="1593300" cy="99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4850" tIns="674325" rIns="134850" bIns="80900" anchor="b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50"/>
              <a:buNone/>
              <a:defRPr>
                <a:solidFill>
                  <a:schemeClr val="lt1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1"/>
              </a:buClr>
              <a:buSzPts val="135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>
                <a:solidFill>
                  <a:schemeClr val="lt1"/>
                </a:solidFill>
              </a:defRPr>
            </a:lvl5pPr>
            <a:lvl6pPr marL="2743200" lvl="5" indent="-342900" algn="l" rtl="0"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9" name="Google Shape;359;g21570a8a96d_0_520"/>
          <p:cNvSpPr txBox="1">
            <a:spLocks noGrp="1"/>
          </p:cNvSpPr>
          <p:nvPr>
            <p:ph type="body" idx="16"/>
          </p:nvPr>
        </p:nvSpPr>
        <p:spPr>
          <a:xfrm>
            <a:off x="7145131" y="1134000"/>
            <a:ext cx="1593300" cy="211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4850" tIns="674325" rIns="134850" bIns="80900" anchor="b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50"/>
              <a:buNone/>
              <a:defRPr>
                <a:solidFill>
                  <a:schemeClr val="lt1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1"/>
              </a:buClr>
              <a:buSzPts val="135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>
                <a:solidFill>
                  <a:schemeClr val="lt1"/>
                </a:solidFill>
              </a:defRPr>
            </a:lvl5pPr>
            <a:lvl6pPr marL="2743200" lvl="5" indent="-342900" algn="l" rtl="0"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0" name="Google Shape;360;g21570a8a96d_0_520"/>
          <p:cNvSpPr txBox="1">
            <a:spLocks noGrp="1"/>
          </p:cNvSpPr>
          <p:nvPr>
            <p:ph type="body" idx="17"/>
          </p:nvPr>
        </p:nvSpPr>
        <p:spPr>
          <a:xfrm>
            <a:off x="2090074" y="2246400"/>
            <a:ext cx="1593300" cy="99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4850" tIns="674325" rIns="134850" bIns="80900" anchor="b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50"/>
              <a:buNone/>
              <a:defRPr>
                <a:solidFill>
                  <a:schemeClr val="lt1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1"/>
              </a:buClr>
              <a:buSzPts val="135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>
                <a:solidFill>
                  <a:schemeClr val="lt1"/>
                </a:solidFill>
              </a:defRPr>
            </a:lvl5pPr>
            <a:lvl6pPr marL="2743200" lvl="5" indent="-342900" algn="l" rtl="0"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1" name="Google Shape;361;g21570a8a96d_0_520"/>
          <p:cNvSpPr txBox="1">
            <a:spLocks noGrp="1"/>
          </p:cNvSpPr>
          <p:nvPr>
            <p:ph type="body" idx="18"/>
          </p:nvPr>
        </p:nvSpPr>
        <p:spPr>
          <a:xfrm>
            <a:off x="5460112" y="2246400"/>
            <a:ext cx="1593300" cy="99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4850" tIns="674325" rIns="134850" bIns="80900" anchor="b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50"/>
              <a:buNone/>
              <a:defRPr>
                <a:solidFill>
                  <a:schemeClr val="lt1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1"/>
              </a:buClr>
              <a:buSzPts val="135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>
                <a:solidFill>
                  <a:schemeClr val="lt1"/>
                </a:solidFill>
              </a:defRPr>
            </a:lvl5pPr>
            <a:lvl6pPr marL="2743200" lvl="5" indent="-342900" algn="l" rtl="0"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2" name="Google Shape;362;g21570a8a96d_0_520"/>
          <p:cNvSpPr txBox="1">
            <a:spLocks noGrp="1"/>
          </p:cNvSpPr>
          <p:nvPr>
            <p:ph type="body" idx="19"/>
          </p:nvPr>
        </p:nvSpPr>
        <p:spPr>
          <a:xfrm>
            <a:off x="2090074" y="1134000"/>
            <a:ext cx="1593300" cy="99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4850" tIns="674325" rIns="134850" bIns="80900" anchor="b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50"/>
              <a:buNone/>
              <a:defRPr>
                <a:solidFill>
                  <a:schemeClr val="lt1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1"/>
              </a:buClr>
              <a:buSzPts val="135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>
                <a:solidFill>
                  <a:schemeClr val="lt1"/>
                </a:solidFill>
              </a:defRPr>
            </a:lvl5pPr>
            <a:lvl6pPr marL="2743200" lvl="5" indent="-342900" algn="l" rtl="0"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3" name="Google Shape;363;g21570a8a96d_0_520"/>
          <p:cNvSpPr>
            <a:spLocks noGrp="1"/>
          </p:cNvSpPr>
          <p:nvPr>
            <p:ph type="pic" idx="20"/>
          </p:nvPr>
        </p:nvSpPr>
        <p:spPr>
          <a:xfrm>
            <a:off x="405055" y="1134000"/>
            <a:ext cx="1593300" cy="2111400"/>
          </a:xfrm>
          <a:prstGeom prst="rect">
            <a:avLst/>
          </a:prstGeom>
          <a:solidFill>
            <a:srgbClr val="D8D8D8"/>
          </a:solidFill>
          <a:ln>
            <a:noFill/>
          </a:ln>
        </p:spPr>
      </p:sp>
      <p:sp>
        <p:nvSpPr>
          <p:cNvPr id="364" name="Google Shape;364;g21570a8a96d_0_520"/>
          <p:cNvSpPr txBox="1">
            <a:spLocks noGrp="1"/>
          </p:cNvSpPr>
          <p:nvPr>
            <p:ph type="body" idx="21"/>
          </p:nvPr>
        </p:nvSpPr>
        <p:spPr>
          <a:xfrm>
            <a:off x="405055" y="1134000"/>
            <a:ext cx="1593300" cy="211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4850" tIns="674325" rIns="134850" bIns="80900" anchor="b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50"/>
              <a:buNone/>
              <a:defRPr>
                <a:solidFill>
                  <a:schemeClr val="lt1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1"/>
              </a:buClr>
              <a:buSzPts val="135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>
                <a:solidFill>
                  <a:schemeClr val="lt1"/>
                </a:solidFill>
              </a:defRPr>
            </a:lvl5pPr>
            <a:lvl6pPr marL="2743200" lvl="5" indent="-342900" algn="l" rtl="0"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5" name="Google Shape;365;g21570a8a96d_0_520"/>
          <p:cNvSpPr txBox="1">
            <a:spLocks noGrp="1"/>
          </p:cNvSpPr>
          <p:nvPr>
            <p:ph type="title"/>
          </p:nvPr>
        </p:nvSpPr>
        <p:spPr>
          <a:xfrm>
            <a:off x="405053" y="324000"/>
            <a:ext cx="8333400" cy="81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6" name="Google Shape;366;g21570a8a96d_0_520"/>
          <p:cNvSpPr txBox="1">
            <a:spLocks noGrp="1"/>
          </p:cNvSpPr>
          <p:nvPr>
            <p:ph type="body" idx="22"/>
          </p:nvPr>
        </p:nvSpPr>
        <p:spPr>
          <a:xfrm>
            <a:off x="405053" y="729000"/>
            <a:ext cx="8333400" cy="40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650"/>
              <a:buNone/>
              <a:defRPr>
                <a:solidFill>
                  <a:srgbClr val="7F7F7F"/>
                </a:solidFill>
              </a:defRPr>
            </a:lvl1pPr>
            <a:lvl2pPr marL="914400" lvl="1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5pPr>
            <a:lvl6pPr marL="2743200" lvl="5" indent="-342900" algn="l" rtl="0"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ARK GREY">
  <p:cSld name="DARK GREY"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g21570a8a96d_0_54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txBody>
          <a:bodyPr spcFirstLastPara="1" wrap="square" lIns="68550" tIns="34275" rIns="68550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9" name="Google Shape;369;g21570a8a96d_0_541"/>
          <p:cNvSpPr txBox="1">
            <a:spLocks noGrp="1"/>
          </p:cNvSpPr>
          <p:nvPr>
            <p:ph type="title"/>
          </p:nvPr>
        </p:nvSpPr>
        <p:spPr>
          <a:xfrm>
            <a:off x="405053" y="324000"/>
            <a:ext cx="8333400" cy="81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700"/>
              <a:buFont typeface="Calibri"/>
              <a:buNone/>
              <a:defRPr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0" name="Google Shape;370;g21570a8a96d_0_541"/>
          <p:cNvSpPr txBox="1">
            <a:spLocks noGrp="1"/>
          </p:cNvSpPr>
          <p:nvPr>
            <p:ph type="body" idx="1"/>
          </p:nvPr>
        </p:nvSpPr>
        <p:spPr>
          <a:xfrm>
            <a:off x="387240" y="706858"/>
            <a:ext cx="8350800" cy="40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" tIns="0" rIns="0" bIns="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A6A6A6"/>
              </a:buClr>
              <a:buSzPts val="1650"/>
              <a:buNone/>
              <a:defRPr>
                <a:solidFill>
                  <a:srgbClr val="A6A6A6"/>
                </a:solidFill>
              </a:defRPr>
            </a:lvl1pPr>
            <a:lvl2pPr marL="914400" lvl="1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5pPr>
            <a:lvl6pPr marL="2743200" lvl="5" indent="-342900" algn="l" rtl="0"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1" name="Google Shape;371;g21570a8a96d_0_541"/>
          <p:cNvSpPr txBox="1">
            <a:spLocks noGrp="1"/>
          </p:cNvSpPr>
          <p:nvPr>
            <p:ph type="body" idx="2"/>
          </p:nvPr>
        </p:nvSpPr>
        <p:spPr>
          <a:xfrm>
            <a:off x="387240" y="1112964"/>
            <a:ext cx="8351100" cy="323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337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650"/>
              <a:buChar char="▪"/>
              <a:defRPr sz="1650">
                <a:solidFill>
                  <a:srgbClr val="D9D9D9"/>
                </a:solidFill>
              </a:defRPr>
            </a:lvl1pPr>
            <a:lvl2pPr marL="914400" lvl="1" indent="-3238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D9D9D9"/>
              </a:buClr>
              <a:buSzPts val="1500"/>
              <a:buChar char="–"/>
              <a:defRPr>
                <a:solidFill>
                  <a:srgbClr val="D9D9D9"/>
                </a:solidFill>
              </a:defRPr>
            </a:lvl2pPr>
            <a:lvl3pPr marL="1371600" lvl="2" indent="-31432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D9D9D9"/>
              </a:buClr>
              <a:buSzPts val="1350"/>
              <a:buChar char="–"/>
              <a:defRPr>
                <a:solidFill>
                  <a:srgbClr val="D9D9D9"/>
                </a:solidFill>
              </a:defRPr>
            </a:lvl3pPr>
            <a:lvl4pPr marL="1828800" lvl="3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D9D9D9"/>
              </a:buClr>
              <a:buSzPts val="1200"/>
              <a:buChar char="–"/>
              <a:defRPr>
                <a:solidFill>
                  <a:srgbClr val="D9D9D9"/>
                </a:solidFill>
              </a:defRPr>
            </a:lvl4pPr>
            <a:lvl5pPr marL="2286000" lvl="4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D9D9D9"/>
              </a:buClr>
              <a:buSzPts val="1200"/>
              <a:buChar char="–"/>
              <a:defRPr>
                <a:solidFill>
                  <a:srgbClr val="D9D9D9"/>
                </a:solidFill>
              </a:defRPr>
            </a:lvl5pPr>
            <a:lvl6pPr marL="2743200" lvl="5" indent="-342900" algn="l" rtl="0"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EMPFEHLUNGEN">
  <p:cSld name="2_EMPFEHLUNGEN">
    <p:bg>
      <p:bgPr>
        <a:solidFill>
          <a:srgbClr val="262626"/>
        </a:solidFill>
        <a:effectLst/>
      </p:bgPr>
    </p:bg>
    <p:spTree>
      <p:nvGrpSpPr>
        <p:cNvPr id="1" name="Shape 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" name="Google Shape;373;g21570a8a96d_0_546"/>
          <p:cNvSpPr txBox="1">
            <a:spLocks noGrp="1"/>
          </p:cNvSpPr>
          <p:nvPr>
            <p:ph type="title"/>
          </p:nvPr>
        </p:nvSpPr>
        <p:spPr>
          <a:xfrm>
            <a:off x="405053" y="324000"/>
            <a:ext cx="8333400" cy="81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Calibri"/>
              <a:buNone/>
              <a:defRPr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4" name="Google Shape;374;g21570a8a96d_0_546"/>
          <p:cNvSpPr>
            <a:spLocks noGrp="1"/>
          </p:cNvSpPr>
          <p:nvPr>
            <p:ph type="pic" idx="2"/>
          </p:nvPr>
        </p:nvSpPr>
        <p:spPr>
          <a:xfrm>
            <a:off x="405052" y="1571400"/>
            <a:ext cx="2700300" cy="1520100"/>
          </a:xfrm>
          <a:prstGeom prst="rect">
            <a:avLst/>
          </a:prstGeom>
          <a:solidFill>
            <a:srgbClr val="D8D8D8"/>
          </a:solidFill>
          <a:ln>
            <a:noFill/>
          </a:ln>
        </p:spPr>
      </p:sp>
      <p:sp>
        <p:nvSpPr>
          <p:cNvPr id="375" name="Google Shape;375;g21570a8a96d_0_546"/>
          <p:cNvSpPr txBox="1">
            <a:spLocks noGrp="1"/>
          </p:cNvSpPr>
          <p:nvPr>
            <p:ph type="body" idx="1"/>
          </p:nvPr>
        </p:nvSpPr>
        <p:spPr>
          <a:xfrm>
            <a:off x="405054" y="3240000"/>
            <a:ext cx="2700300" cy="40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50"/>
              <a:buNone/>
              <a:defRPr sz="1050" u="sng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9527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1"/>
              </a:buClr>
              <a:buSzPts val="1050"/>
              <a:buChar char="–"/>
              <a:defRPr sz="1050" u="sng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/>
            </a:lvl5pPr>
            <a:lvl6pPr marL="2743200" lvl="5" indent="-342900" algn="l" rtl="0"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6" name="Google Shape;376;g21570a8a96d_0_546"/>
          <p:cNvSpPr>
            <a:spLocks noGrp="1"/>
          </p:cNvSpPr>
          <p:nvPr>
            <p:ph type="pic" idx="3"/>
          </p:nvPr>
        </p:nvSpPr>
        <p:spPr>
          <a:xfrm>
            <a:off x="3221825" y="1571400"/>
            <a:ext cx="2700300" cy="1520100"/>
          </a:xfrm>
          <a:prstGeom prst="rect">
            <a:avLst/>
          </a:prstGeom>
          <a:solidFill>
            <a:srgbClr val="D8D8D8"/>
          </a:solidFill>
          <a:ln>
            <a:noFill/>
          </a:ln>
        </p:spPr>
      </p:sp>
      <p:sp>
        <p:nvSpPr>
          <p:cNvPr id="377" name="Google Shape;377;g21570a8a96d_0_546"/>
          <p:cNvSpPr txBox="1">
            <a:spLocks noGrp="1"/>
          </p:cNvSpPr>
          <p:nvPr>
            <p:ph type="body" idx="4"/>
          </p:nvPr>
        </p:nvSpPr>
        <p:spPr>
          <a:xfrm>
            <a:off x="3221520" y="3240000"/>
            <a:ext cx="2700300" cy="40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50"/>
              <a:buNone/>
              <a:defRPr sz="1050" u="sng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9527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1"/>
              </a:buClr>
              <a:buSzPts val="1050"/>
              <a:buChar char="–"/>
              <a:defRPr sz="1050" u="sng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/>
            </a:lvl5pPr>
            <a:lvl6pPr marL="2743200" lvl="5" indent="-342900" algn="l" rtl="0"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8" name="Google Shape;378;g21570a8a96d_0_546"/>
          <p:cNvSpPr>
            <a:spLocks noGrp="1"/>
          </p:cNvSpPr>
          <p:nvPr>
            <p:ph type="pic" idx="5"/>
          </p:nvPr>
        </p:nvSpPr>
        <p:spPr>
          <a:xfrm>
            <a:off x="6037988" y="1571400"/>
            <a:ext cx="2700300" cy="1520100"/>
          </a:xfrm>
          <a:prstGeom prst="rect">
            <a:avLst/>
          </a:prstGeom>
          <a:solidFill>
            <a:srgbClr val="D8D8D8"/>
          </a:solidFill>
          <a:ln>
            <a:noFill/>
          </a:ln>
        </p:spPr>
      </p:sp>
      <p:sp>
        <p:nvSpPr>
          <p:cNvPr id="379" name="Google Shape;379;g21570a8a96d_0_546"/>
          <p:cNvSpPr txBox="1">
            <a:spLocks noGrp="1"/>
          </p:cNvSpPr>
          <p:nvPr>
            <p:ph type="body" idx="6"/>
          </p:nvPr>
        </p:nvSpPr>
        <p:spPr>
          <a:xfrm>
            <a:off x="6037987" y="3240000"/>
            <a:ext cx="2700300" cy="40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50"/>
              <a:buNone/>
              <a:defRPr sz="1050" u="sng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9527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1"/>
              </a:buClr>
              <a:buSzPts val="1050"/>
              <a:buChar char="–"/>
              <a:defRPr sz="1050" u="sng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/>
            </a:lvl5pPr>
            <a:lvl6pPr marL="2743200" lvl="5" indent="-342900" algn="l" rtl="0"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380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8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" name="Google Shape;43;p18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18"/>
          <p:cNvSpPr txBox="1">
            <a:spLocks noGrp="1"/>
          </p:cNvSpPr>
          <p:nvPr>
            <p:ph type="subTitle" idx="1"/>
          </p:nvPr>
        </p:nvSpPr>
        <p:spPr>
          <a:xfrm>
            <a:off x="4845495" y="2489492"/>
            <a:ext cx="2973600" cy="31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sp>
        <p:nvSpPr>
          <p:cNvPr id="45" name="Google Shape;45;p18"/>
          <p:cNvSpPr txBox="1">
            <a:spLocks noGrp="1"/>
          </p:cNvSpPr>
          <p:nvPr>
            <p:ph type="body" idx="2"/>
          </p:nvPr>
        </p:nvSpPr>
        <p:spPr>
          <a:xfrm>
            <a:off x="1301075" y="2889700"/>
            <a:ext cx="2931300" cy="74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175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600"/>
            </a:lvl1pPr>
            <a:lvl2pPr marL="914400" lvl="1" indent="-3175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400">
                <a:solidFill>
                  <a:srgbClr val="FFFFFF"/>
                </a:solidFill>
              </a:defRPr>
            </a:lvl2pPr>
            <a:lvl3pPr marL="1371600" lvl="2" indent="-3175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400">
                <a:solidFill>
                  <a:srgbClr val="FFFFFF"/>
                </a:solidFill>
              </a:defRPr>
            </a:lvl3pPr>
            <a:lvl4pPr marL="1828800" lvl="3" indent="-3175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400">
                <a:solidFill>
                  <a:srgbClr val="FFFFFF"/>
                </a:solidFill>
              </a:defRPr>
            </a:lvl4pPr>
            <a:lvl5pPr marL="2286000" lvl="4" indent="-3175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400">
                <a:solidFill>
                  <a:srgbClr val="FFFFFF"/>
                </a:solidFill>
              </a:defRPr>
            </a:lvl5pPr>
            <a:lvl6pPr marL="2743200" lvl="5" indent="-3175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400">
                <a:solidFill>
                  <a:srgbClr val="FFFFFF"/>
                </a:solidFill>
              </a:defRPr>
            </a:lvl6pPr>
            <a:lvl7pPr marL="3200400" lvl="6" indent="-3175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400">
                <a:solidFill>
                  <a:srgbClr val="FFFFFF"/>
                </a:solidFill>
              </a:defRPr>
            </a:lvl7pPr>
            <a:lvl8pPr marL="3657600" lvl="7" indent="-3175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400">
                <a:solidFill>
                  <a:srgbClr val="FFFFFF"/>
                </a:solidFill>
              </a:defRPr>
            </a:lvl8pPr>
            <a:lvl9pPr marL="4114800" lvl="8" indent="-3175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4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46" name="Google Shape;46;p18"/>
          <p:cNvSpPr txBox="1">
            <a:spLocks noGrp="1"/>
          </p:cNvSpPr>
          <p:nvPr>
            <p:ph type="body" idx="3"/>
          </p:nvPr>
        </p:nvSpPr>
        <p:spPr>
          <a:xfrm>
            <a:off x="4845500" y="2881750"/>
            <a:ext cx="2973600" cy="76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175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600"/>
            </a:lvl1pPr>
            <a:lvl2pPr marL="914400" lvl="1" indent="-3175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400">
                <a:solidFill>
                  <a:srgbClr val="FFFFFF"/>
                </a:solidFill>
              </a:defRPr>
            </a:lvl2pPr>
            <a:lvl3pPr marL="1371600" lvl="2" indent="-3175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400">
                <a:solidFill>
                  <a:srgbClr val="FFFFFF"/>
                </a:solidFill>
              </a:defRPr>
            </a:lvl3pPr>
            <a:lvl4pPr marL="1828800" lvl="3" indent="-3175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400">
                <a:solidFill>
                  <a:srgbClr val="FFFFFF"/>
                </a:solidFill>
              </a:defRPr>
            </a:lvl4pPr>
            <a:lvl5pPr marL="2286000" lvl="4" indent="-3175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400">
                <a:solidFill>
                  <a:srgbClr val="FFFFFF"/>
                </a:solidFill>
              </a:defRPr>
            </a:lvl5pPr>
            <a:lvl6pPr marL="2743200" lvl="5" indent="-3175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400">
                <a:solidFill>
                  <a:srgbClr val="FFFFFF"/>
                </a:solidFill>
              </a:defRPr>
            </a:lvl6pPr>
            <a:lvl7pPr marL="3200400" lvl="6" indent="-3175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400">
                <a:solidFill>
                  <a:srgbClr val="FFFFFF"/>
                </a:solidFill>
              </a:defRPr>
            </a:lvl7pPr>
            <a:lvl8pPr marL="3657600" lvl="7" indent="-3175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400">
                <a:solidFill>
                  <a:srgbClr val="FFFFFF"/>
                </a:solidFill>
              </a:defRPr>
            </a:lvl8pPr>
            <a:lvl9pPr marL="4114800" lvl="8" indent="-3175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4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47" name="Google Shape;47;p18"/>
          <p:cNvSpPr txBox="1"/>
          <p:nvPr/>
        </p:nvSpPr>
        <p:spPr>
          <a:xfrm>
            <a:off x="1331069" y="3012575"/>
            <a:ext cx="2871300" cy="53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Raleway Thin"/>
              <a:ea typeface="Raleway Thin"/>
              <a:cs typeface="Raleway Thin"/>
              <a:sym typeface="Raleway Thin"/>
            </a:endParaRPr>
          </a:p>
        </p:txBody>
      </p:sp>
      <p:sp>
        <p:nvSpPr>
          <p:cNvPr id="48" name="Google Shape;48;p18"/>
          <p:cNvSpPr txBox="1">
            <a:spLocks noGrp="1"/>
          </p:cNvSpPr>
          <p:nvPr>
            <p:ph type="subTitle" idx="4"/>
          </p:nvPr>
        </p:nvSpPr>
        <p:spPr>
          <a:xfrm>
            <a:off x="1331069" y="2489492"/>
            <a:ext cx="2871300" cy="31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grpSp>
        <p:nvGrpSpPr>
          <p:cNvPr id="49" name="Google Shape;49;p18"/>
          <p:cNvGrpSpPr/>
          <p:nvPr/>
        </p:nvGrpSpPr>
        <p:grpSpPr>
          <a:xfrm>
            <a:off x="366700" y="730650"/>
            <a:ext cx="8208688" cy="1841088"/>
            <a:chOff x="404800" y="730650"/>
            <a:chExt cx="8208688" cy="1841088"/>
          </a:xfrm>
        </p:grpSpPr>
        <p:sp>
          <p:nvSpPr>
            <p:cNvPr id="50" name="Google Shape;50;p18"/>
            <p:cNvSpPr/>
            <p:nvPr/>
          </p:nvSpPr>
          <p:spPr>
            <a:xfrm>
              <a:off x="536175" y="730650"/>
              <a:ext cx="1189800" cy="118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1" name="Google Shape;51;p18"/>
            <p:cNvSpPr/>
            <p:nvPr/>
          </p:nvSpPr>
          <p:spPr>
            <a:xfrm rot="10800000">
              <a:off x="8319788" y="139881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2" name="Google Shape;52;p18"/>
            <p:cNvSpPr/>
            <p:nvPr/>
          </p:nvSpPr>
          <p:spPr>
            <a:xfrm rot="10800000">
              <a:off x="8016563" y="1770163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3" name="Google Shape;53;p18"/>
            <p:cNvSpPr/>
            <p:nvPr/>
          </p:nvSpPr>
          <p:spPr>
            <a:xfrm>
              <a:off x="404800" y="20509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54" name="Google Shape;54;p18"/>
          <p:cNvGrpSpPr/>
          <p:nvPr/>
        </p:nvGrpSpPr>
        <p:grpSpPr>
          <a:xfrm rot="-2700000" flipH="1">
            <a:off x="861334" y="3359918"/>
            <a:ext cx="596919" cy="896417"/>
            <a:chOff x="8358300" y="3550499"/>
            <a:chExt cx="596925" cy="896426"/>
          </a:xfrm>
        </p:grpSpPr>
        <p:sp>
          <p:nvSpPr>
            <p:cNvPr id="55" name="Google Shape;55;p18"/>
            <p:cNvSpPr/>
            <p:nvPr/>
          </p:nvSpPr>
          <p:spPr>
            <a:xfrm>
              <a:off x="8358300" y="4152925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6" name="Google Shape;56;p18"/>
            <p:cNvSpPr/>
            <p:nvPr/>
          </p:nvSpPr>
          <p:spPr>
            <a:xfrm>
              <a:off x="8383125" y="3550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>
  <p:cSld name="CUSTOM_2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9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" name="Google Shape;59;p19"/>
          <p:cNvSpPr txBox="1">
            <a:spLocks noGrp="1"/>
          </p:cNvSpPr>
          <p:nvPr>
            <p:ph type="subTitle" idx="1"/>
          </p:nvPr>
        </p:nvSpPr>
        <p:spPr>
          <a:xfrm>
            <a:off x="4795550" y="1203875"/>
            <a:ext cx="3246600" cy="50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Poppins ExtraBold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Poppins ExtraBold"/>
              <a:buNone/>
              <a:defRPr sz="1800"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Poppins ExtraBold"/>
              <a:buNone/>
              <a:defRPr sz="1800"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Poppins ExtraBold"/>
              <a:buNone/>
              <a:defRPr sz="1800"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Poppins ExtraBold"/>
              <a:buNone/>
              <a:defRPr sz="1800"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Poppins ExtraBold"/>
              <a:buNone/>
              <a:defRPr sz="1800"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Poppins ExtraBold"/>
              <a:buNone/>
              <a:defRPr sz="1800"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Poppins ExtraBold"/>
              <a:buNone/>
              <a:defRPr sz="1800"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Poppins ExtraBold"/>
              <a:buNone/>
              <a:defRPr sz="1800"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sp>
        <p:nvSpPr>
          <p:cNvPr id="60" name="Google Shape;60;p19"/>
          <p:cNvSpPr txBox="1">
            <a:spLocks noGrp="1"/>
          </p:cNvSpPr>
          <p:nvPr>
            <p:ph type="subTitle" idx="2"/>
          </p:nvPr>
        </p:nvSpPr>
        <p:spPr>
          <a:xfrm>
            <a:off x="1115300" y="1208688"/>
            <a:ext cx="3246600" cy="50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Poppins ExtraBold"/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Poppins ExtraBold"/>
              <a:buNone/>
              <a:defRPr sz="1800"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Poppins ExtraBold"/>
              <a:buNone/>
              <a:defRPr sz="1800"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Poppins ExtraBold"/>
              <a:buNone/>
              <a:defRPr sz="1800"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Poppins ExtraBold"/>
              <a:buNone/>
              <a:defRPr sz="1800"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Poppins ExtraBold"/>
              <a:buNone/>
              <a:defRPr sz="1800"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Poppins ExtraBold"/>
              <a:buNone/>
              <a:defRPr sz="1800"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Poppins ExtraBold"/>
              <a:buNone/>
              <a:defRPr sz="1800"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Poppins ExtraBold"/>
              <a:buNone/>
              <a:defRPr sz="1800"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sp>
        <p:nvSpPr>
          <p:cNvPr id="61" name="Google Shape;61;p19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19"/>
          <p:cNvSpPr txBox="1">
            <a:spLocks noGrp="1"/>
          </p:cNvSpPr>
          <p:nvPr>
            <p:ph type="subTitle" idx="3"/>
          </p:nvPr>
        </p:nvSpPr>
        <p:spPr>
          <a:xfrm>
            <a:off x="4795550" y="1855683"/>
            <a:ext cx="3246600" cy="203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Char char="●"/>
              <a:defRPr sz="15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Char char="○"/>
              <a:defRPr sz="15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Char char="■"/>
              <a:defRPr sz="15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Char char="●"/>
              <a:defRPr sz="15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Char char="○"/>
              <a:defRPr sz="15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Char char="■"/>
              <a:defRPr sz="15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Char char="●"/>
              <a:defRPr sz="15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Char char="○"/>
              <a:defRPr sz="15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Char char="■"/>
              <a:defRPr sz="1500"/>
            </a:lvl9pPr>
          </a:lstStyle>
          <a:p>
            <a:endParaRPr/>
          </a:p>
        </p:txBody>
      </p:sp>
      <p:sp>
        <p:nvSpPr>
          <p:cNvPr id="63" name="Google Shape;63;p19"/>
          <p:cNvSpPr txBox="1">
            <a:spLocks noGrp="1"/>
          </p:cNvSpPr>
          <p:nvPr>
            <p:ph type="subTitle" idx="4"/>
          </p:nvPr>
        </p:nvSpPr>
        <p:spPr>
          <a:xfrm>
            <a:off x="1115300" y="1855683"/>
            <a:ext cx="3246600" cy="203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Char char="●"/>
              <a:defRPr sz="15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Char char="○"/>
              <a:defRPr sz="15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Char char="■"/>
              <a:defRPr sz="15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Char char="●"/>
              <a:defRPr sz="15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Char char="○"/>
              <a:defRPr sz="15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Char char="■"/>
              <a:defRPr sz="15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Char char="●"/>
              <a:defRPr sz="15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Char char="○"/>
              <a:defRPr sz="15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Char char="■"/>
              <a:defRPr sz="1500"/>
            </a:lvl9pPr>
          </a:lstStyle>
          <a:p>
            <a:endParaRPr/>
          </a:p>
        </p:txBody>
      </p:sp>
      <p:grpSp>
        <p:nvGrpSpPr>
          <p:cNvPr id="64" name="Google Shape;64;p19"/>
          <p:cNvGrpSpPr/>
          <p:nvPr/>
        </p:nvGrpSpPr>
        <p:grpSpPr>
          <a:xfrm>
            <a:off x="270750" y="-561264"/>
            <a:ext cx="8627325" cy="4964025"/>
            <a:chOff x="270750" y="-561264"/>
            <a:chExt cx="8627325" cy="4964025"/>
          </a:xfrm>
        </p:grpSpPr>
        <p:grpSp>
          <p:nvGrpSpPr>
            <p:cNvPr id="65" name="Google Shape;65;p19"/>
            <p:cNvGrpSpPr/>
            <p:nvPr/>
          </p:nvGrpSpPr>
          <p:grpSpPr>
            <a:xfrm rot="10800000" flipH="1">
              <a:off x="270750" y="253149"/>
              <a:ext cx="8627325" cy="4149612"/>
              <a:chOff x="270750" y="192538"/>
              <a:chExt cx="8627325" cy="4149612"/>
            </a:xfrm>
          </p:grpSpPr>
          <p:sp>
            <p:nvSpPr>
              <p:cNvPr id="66" name="Google Shape;66;p19"/>
              <p:cNvSpPr/>
              <p:nvPr/>
            </p:nvSpPr>
            <p:spPr>
              <a:xfrm>
                <a:off x="270750" y="3248150"/>
                <a:ext cx="572100" cy="5721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7" name="Google Shape;67;p19"/>
              <p:cNvSpPr/>
              <p:nvPr/>
            </p:nvSpPr>
            <p:spPr>
              <a:xfrm>
                <a:off x="8301150" y="4048150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8" name="Google Shape;68;p19"/>
              <p:cNvSpPr/>
              <p:nvPr/>
            </p:nvSpPr>
            <p:spPr>
              <a:xfrm>
                <a:off x="7218275" y="36057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9" name="Google Shape;69;p19"/>
              <p:cNvSpPr/>
              <p:nvPr/>
            </p:nvSpPr>
            <p:spPr>
              <a:xfrm>
                <a:off x="8325975" y="296582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0" name="Google Shape;70;p19"/>
              <p:cNvSpPr/>
              <p:nvPr/>
            </p:nvSpPr>
            <p:spPr>
              <a:xfrm>
                <a:off x="817013" y="192538"/>
                <a:ext cx="520200" cy="5208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1" name="Google Shape;71;p19"/>
              <p:cNvSpPr/>
              <p:nvPr/>
            </p:nvSpPr>
            <p:spPr>
              <a:xfrm>
                <a:off x="1337220" y="250706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72" name="Google Shape;72;p19"/>
            <p:cNvSpPr/>
            <p:nvPr/>
          </p:nvSpPr>
          <p:spPr>
            <a:xfrm rot="-10244201">
              <a:off x="1290109" y="-473041"/>
              <a:ext cx="1192755" cy="1192755"/>
            </a:xfrm>
            <a:prstGeom prst="blockArc">
              <a:avLst>
                <a:gd name="adj1" fmla="val 10247770"/>
                <a:gd name="adj2" fmla="val 21057893"/>
                <a:gd name="adj3" fmla="val 12924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p22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" name="Google Shape;75;p22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grpSp>
        <p:nvGrpSpPr>
          <p:cNvPr id="76" name="Google Shape;76;p22"/>
          <p:cNvGrpSpPr/>
          <p:nvPr/>
        </p:nvGrpSpPr>
        <p:grpSpPr>
          <a:xfrm>
            <a:off x="193224" y="250521"/>
            <a:ext cx="8719077" cy="4083144"/>
            <a:chOff x="193224" y="250521"/>
            <a:chExt cx="8719077" cy="4083144"/>
          </a:xfrm>
        </p:grpSpPr>
        <p:sp>
          <p:nvSpPr>
            <p:cNvPr id="77" name="Google Shape;77;p22"/>
            <p:cNvSpPr/>
            <p:nvPr/>
          </p:nvSpPr>
          <p:spPr>
            <a:xfrm>
              <a:off x="193228" y="1109351"/>
              <a:ext cx="470400" cy="4704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8" name="Google Shape;78;p22"/>
            <p:cNvSpPr/>
            <p:nvPr/>
          </p:nvSpPr>
          <p:spPr>
            <a:xfrm>
              <a:off x="8291625" y="4138665"/>
              <a:ext cx="194700" cy="195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9" name="Google Shape;79;p22"/>
            <p:cNvSpPr/>
            <p:nvPr/>
          </p:nvSpPr>
          <p:spPr>
            <a:xfrm>
              <a:off x="8490521" y="250521"/>
              <a:ext cx="379500" cy="37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0" name="Google Shape;80;p22"/>
            <p:cNvSpPr/>
            <p:nvPr/>
          </p:nvSpPr>
          <p:spPr>
            <a:xfrm>
              <a:off x="193224" y="1617493"/>
              <a:ext cx="241500" cy="241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1" name="Google Shape;81;p22"/>
            <p:cNvSpPr/>
            <p:nvPr/>
          </p:nvSpPr>
          <p:spPr>
            <a:xfrm>
              <a:off x="8532801" y="3929875"/>
              <a:ext cx="379500" cy="37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CUSTOM_8_1"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Google Shape;83;p20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" name="Google Shape;84;p20"/>
          <p:cNvSpPr txBox="1">
            <a:spLocks noGrp="1"/>
          </p:cNvSpPr>
          <p:nvPr>
            <p:ph type="ctrTitle"/>
          </p:nvPr>
        </p:nvSpPr>
        <p:spPr>
          <a:xfrm flipH="1">
            <a:off x="4745175" y="2791150"/>
            <a:ext cx="3605100" cy="46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 b="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endParaRPr/>
          </a:p>
        </p:txBody>
      </p:sp>
      <p:sp>
        <p:nvSpPr>
          <p:cNvPr id="85" name="Google Shape;85;p20"/>
          <p:cNvSpPr txBox="1">
            <a:spLocks noGrp="1"/>
          </p:cNvSpPr>
          <p:nvPr>
            <p:ph type="subTitle" idx="1"/>
          </p:nvPr>
        </p:nvSpPr>
        <p:spPr>
          <a:xfrm rot="-286" flipH="1">
            <a:off x="4745175" y="1355675"/>
            <a:ext cx="3605100" cy="133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86" name="Google Shape;86;p20"/>
          <p:cNvGrpSpPr/>
          <p:nvPr/>
        </p:nvGrpSpPr>
        <p:grpSpPr>
          <a:xfrm rot="10800000" flipH="1">
            <a:off x="270750" y="253149"/>
            <a:ext cx="8703525" cy="4438776"/>
            <a:chOff x="270750" y="-96626"/>
            <a:chExt cx="8703525" cy="4438776"/>
          </a:xfrm>
        </p:grpSpPr>
        <p:sp>
          <p:nvSpPr>
            <p:cNvPr id="87" name="Google Shape;87;p20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8" name="Google Shape;88;p20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9" name="Google Shape;89;p20"/>
            <p:cNvSpPr/>
            <p:nvPr/>
          </p:nvSpPr>
          <p:spPr>
            <a:xfrm>
              <a:off x="7246850" y="-96626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0" name="Google Shape;90;p20"/>
            <p:cNvSpPr/>
            <p:nvPr/>
          </p:nvSpPr>
          <p:spPr>
            <a:xfrm>
              <a:off x="84021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1" name="Google Shape;91;p20"/>
            <p:cNvSpPr/>
            <p:nvPr/>
          </p:nvSpPr>
          <p:spPr>
            <a:xfrm>
              <a:off x="758713" y="4348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2" name="Google Shape;92;p20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21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5" name="Google Shape;95;p21"/>
          <p:cNvGrpSpPr/>
          <p:nvPr/>
        </p:nvGrpSpPr>
        <p:grpSpPr>
          <a:xfrm flipH="1">
            <a:off x="1076330" y="3499180"/>
            <a:ext cx="6991339" cy="1329929"/>
            <a:chOff x="404800" y="1010238"/>
            <a:chExt cx="8208688" cy="1561500"/>
          </a:xfrm>
        </p:grpSpPr>
        <p:sp>
          <p:nvSpPr>
            <p:cNvPr id="96" name="Google Shape;96;p21"/>
            <p:cNvSpPr/>
            <p:nvPr/>
          </p:nvSpPr>
          <p:spPr>
            <a:xfrm>
              <a:off x="2560391" y="1010238"/>
              <a:ext cx="1189800" cy="118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" name="Google Shape;97;p21"/>
            <p:cNvSpPr/>
            <p:nvPr/>
          </p:nvSpPr>
          <p:spPr>
            <a:xfrm rot="10800000">
              <a:off x="8319788" y="139881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8" name="Google Shape;98;p21"/>
            <p:cNvSpPr/>
            <p:nvPr/>
          </p:nvSpPr>
          <p:spPr>
            <a:xfrm rot="10800000">
              <a:off x="8016563" y="1770163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" name="Google Shape;99;p21"/>
            <p:cNvSpPr/>
            <p:nvPr/>
          </p:nvSpPr>
          <p:spPr>
            <a:xfrm>
              <a:off x="404800" y="20509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0" name="Google Shape;100;p21"/>
          <p:cNvSpPr/>
          <p:nvPr/>
        </p:nvSpPr>
        <p:spPr>
          <a:xfrm flipH="1">
            <a:off x="3408602" y="765505"/>
            <a:ext cx="1013400" cy="10134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1" name="Google Shape;101;p21"/>
          <p:cNvGrpSpPr/>
          <p:nvPr/>
        </p:nvGrpSpPr>
        <p:grpSpPr>
          <a:xfrm>
            <a:off x="270750" y="253149"/>
            <a:ext cx="8627325" cy="4089001"/>
            <a:chOff x="270750" y="253149"/>
            <a:chExt cx="8627325" cy="4089001"/>
          </a:xfrm>
        </p:grpSpPr>
        <p:sp>
          <p:nvSpPr>
            <p:cNvPr id="102" name="Google Shape;102;p21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" name="Google Shape;103;p21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" name="Google Shape;104;p21"/>
            <p:cNvSpPr/>
            <p:nvPr/>
          </p:nvSpPr>
          <p:spPr>
            <a:xfrm>
              <a:off x="6009175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" name="Google Shape;105;p21"/>
            <p:cNvSpPr/>
            <p:nvPr/>
          </p:nvSpPr>
          <p:spPr>
            <a:xfrm>
              <a:off x="8325975" y="33980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6" name="Google Shape;106;p21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7" name="Google Shape;107;p21"/>
          <p:cNvSpPr txBox="1">
            <a:spLocks noGrp="1"/>
          </p:cNvSpPr>
          <p:nvPr>
            <p:ph type="title"/>
          </p:nvPr>
        </p:nvSpPr>
        <p:spPr>
          <a:xfrm>
            <a:off x="1887000" y="1732200"/>
            <a:ext cx="5370000" cy="167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23"/>
          <p:cNvSpPr/>
          <p:nvPr/>
        </p:nvSpPr>
        <p:spPr>
          <a:xfrm>
            <a:off x="101850" y="121950"/>
            <a:ext cx="8940300" cy="48996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0" name="Google Shape;110;p23"/>
          <p:cNvSpPr txBox="1">
            <a:spLocks noGrp="1"/>
          </p:cNvSpPr>
          <p:nvPr>
            <p:ph type="title"/>
          </p:nvPr>
        </p:nvSpPr>
        <p:spPr>
          <a:xfrm>
            <a:off x="726376" y="1682650"/>
            <a:ext cx="4238700" cy="615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11" name="Google Shape;111;p23"/>
          <p:cNvSpPr txBox="1">
            <a:spLocks noGrp="1"/>
          </p:cNvSpPr>
          <p:nvPr>
            <p:ph type="subTitle" idx="1"/>
          </p:nvPr>
        </p:nvSpPr>
        <p:spPr>
          <a:xfrm>
            <a:off x="726375" y="2297850"/>
            <a:ext cx="4238700" cy="8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2" name="Google Shape;112;p23"/>
          <p:cNvGrpSpPr/>
          <p:nvPr/>
        </p:nvGrpSpPr>
        <p:grpSpPr>
          <a:xfrm rot="10800000" flipH="1">
            <a:off x="270750" y="405549"/>
            <a:ext cx="8627325" cy="3828376"/>
            <a:chOff x="270750" y="361374"/>
            <a:chExt cx="8627325" cy="3828376"/>
          </a:xfrm>
        </p:grpSpPr>
        <p:sp>
          <p:nvSpPr>
            <p:cNvPr id="113" name="Google Shape;113;p23"/>
            <p:cNvSpPr/>
            <p:nvPr/>
          </p:nvSpPr>
          <p:spPr>
            <a:xfrm>
              <a:off x="669525" y="361374"/>
              <a:ext cx="909600" cy="9096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" name="Google Shape;114;p23"/>
            <p:cNvSpPr/>
            <p:nvPr/>
          </p:nvSpPr>
          <p:spPr>
            <a:xfrm>
              <a:off x="270750" y="30195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" name="Google Shape;115;p23"/>
            <p:cNvSpPr/>
            <p:nvPr/>
          </p:nvSpPr>
          <p:spPr>
            <a:xfrm>
              <a:off x="8529750" y="38957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6" name="Google Shape;116;p23"/>
            <p:cNvSpPr/>
            <p:nvPr/>
          </p:nvSpPr>
          <p:spPr>
            <a:xfrm>
              <a:off x="8325975" y="29408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7" name="Google Shape;117;p23"/>
            <p:cNvSpPr/>
            <p:nvPr/>
          </p:nvSpPr>
          <p:spPr>
            <a:xfrm>
              <a:off x="1708845" y="4583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0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5" Type="http://schemas.openxmlformats.org/officeDocument/2006/relationships/slideLayout" Target="../slideLayouts/slideLayout3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31.xml"/><Relationship Id="rId9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044C849-346F-43F5-B601-A28A903E28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1263193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0" imgW="404" imgH="405" progId="TCLayout.ActiveDocument.1">
                  <p:embed/>
                </p:oleObj>
              </mc:Choice>
              <mc:Fallback>
                <p:oleObj name="think-cell Folie" r:id="rId30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044C849-346F-43F5-B601-A28A903E28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4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 b="0" i="0" u="none" strike="noStrike" cap="none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 b="0" i="0" u="none" strike="noStrike" cap="none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 b="0" i="0" u="none" strike="noStrike" cap="none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 b="0" i="0" u="none" strike="noStrike" cap="none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 b="0" i="0" u="none" strike="noStrike" cap="none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 b="0" i="0" u="none" strike="noStrike" cap="none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 b="0" i="0" u="none" strike="noStrike" cap="none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 b="0" i="0" u="none" strike="noStrike" cap="none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 b="0" i="0" u="none" strike="noStrike" cap="none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sp>
        <p:nvSpPr>
          <p:cNvPr id="7" name="Google Shape;7;p14"/>
          <p:cNvSpPr txBox="1">
            <a:spLocks noGrp="1"/>
          </p:cNvSpPr>
          <p:nvPr>
            <p:ph type="body" idx="1"/>
          </p:nvPr>
        </p:nvSpPr>
        <p:spPr>
          <a:xfrm>
            <a:off x="713225" y="1152475"/>
            <a:ext cx="77175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Libre Franklin"/>
              <a:buChar char="●"/>
              <a:defRPr sz="1800" b="0" i="0" u="none" strike="noStrike" cap="none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Libre Franklin"/>
              <a:buChar char="○"/>
              <a:defRPr sz="1400" b="0" i="0" u="none" strike="noStrike" cap="none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Libre Franklin"/>
              <a:buChar char="■"/>
              <a:defRPr sz="1400" b="0" i="0" u="none" strike="noStrike" cap="none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Libre Franklin"/>
              <a:buChar char="●"/>
              <a:defRPr sz="1400" b="0" i="0" u="none" strike="noStrike" cap="none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Libre Franklin"/>
              <a:buChar char="○"/>
              <a:defRPr sz="1400" b="0" i="0" u="none" strike="noStrike" cap="none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Libre Franklin"/>
              <a:buChar char="■"/>
              <a:defRPr sz="1400" b="0" i="0" u="none" strike="noStrike" cap="none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Libre Franklin"/>
              <a:buChar char="●"/>
              <a:defRPr sz="1400" b="0" i="0" u="none" strike="noStrike" cap="none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Libre Franklin"/>
              <a:buChar char="○"/>
              <a:defRPr sz="1400" b="0" i="0" u="none" strike="noStrike" cap="none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Libre Franklin"/>
              <a:buChar char="■"/>
              <a:defRPr sz="1400" b="0" i="0" u="none" strike="noStrike" cap="none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47E65F1-677B-4878-A108-1F1B79CF76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988015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404" imgH="405" progId="TCLayout.ActiveDocument.1">
                  <p:embed/>
                </p:oleObj>
              </mc:Choice>
              <mc:Fallback>
                <p:oleObj name="think-cell Folie" r:id="rId9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7E65F1-677B-4878-A108-1F1B79CF76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6" name="Google Shape;336;g21570a8a96d_0_509"/>
          <p:cNvSpPr txBox="1">
            <a:spLocks noGrp="1"/>
          </p:cNvSpPr>
          <p:nvPr>
            <p:ph type="title"/>
          </p:nvPr>
        </p:nvSpPr>
        <p:spPr>
          <a:xfrm>
            <a:off x="405053" y="324000"/>
            <a:ext cx="8333400" cy="81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700"/>
              <a:buFont typeface="Calibri"/>
              <a:buNone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337" name="Google Shape;337;g21570a8a96d_0_509"/>
          <p:cNvSpPr txBox="1">
            <a:spLocks noGrp="1"/>
          </p:cNvSpPr>
          <p:nvPr>
            <p:ph type="body" idx="1"/>
          </p:nvPr>
        </p:nvSpPr>
        <p:spPr>
          <a:xfrm>
            <a:off x="405053" y="1134000"/>
            <a:ext cx="8333400" cy="322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337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50"/>
              <a:buFont typeface="Noto Sans Symbols"/>
              <a:buChar char="▪"/>
              <a:defRPr sz="16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238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Calibri"/>
              <a:buChar char="–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1432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Calibri"/>
              <a:buChar char="–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Char char="–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Char char="–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23850" algn="l" rtl="0"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2385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2385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2385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5" Type="http://schemas.openxmlformats.org/officeDocument/2006/relationships/hyperlink" Target="https://forms.gle/x8KMkQT2hnwU1yGT7" TargetMode="Externa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0.png"/><Relationship Id="rId4" Type="http://schemas.openxmlformats.org/officeDocument/2006/relationships/image" Target="../media/image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.png"/><Relationship Id="rId5" Type="http://schemas.openxmlformats.org/officeDocument/2006/relationships/image" Target="../media/image2.png"/><Relationship Id="rId4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8.xml"/><Relationship Id="rId6" Type="http://schemas.openxmlformats.org/officeDocument/2006/relationships/hyperlink" Target="https://forms.gle/x8KMkQT2hnwU1yGT7" TargetMode="Externa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8.png"/><Relationship Id="rId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AC0F6"/>
        </a:solidFill>
        <a:effectLst/>
      </p:bgPr>
    </p:bg>
    <p:spTree>
      <p:nvGrpSpPr>
        <p:cNvPr id="1" name="Shape 3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5" name="Google Shape;385;g21570a8a96d_0_68"/>
          <p:cNvSpPr/>
          <p:nvPr/>
        </p:nvSpPr>
        <p:spPr>
          <a:xfrm>
            <a:off x="6110908" y="452003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 extrusionOk="0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6" name="Google Shape;386;g21570a8a96d_0_68"/>
          <p:cNvSpPr/>
          <p:nvPr/>
        </p:nvSpPr>
        <p:spPr>
          <a:xfrm>
            <a:off x="514350" y="4520035"/>
            <a:ext cx="1128776" cy="475804"/>
          </a:xfrm>
          <a:custGeom>
            <a:avLst/>
            <a:gdLst/>
            <a:ahLst/>
            <a:cxnLst/>
            <a:rect l="l" t="t" r="r" b="b"/>
            <a:pathLst>
              <a:path w="2257552" h="951609" extrusionOk="0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7" name="Google Shape;387;g21570a8a96d_0_68"/>
          <p:cNvSpPr txBox="1"/>
          <p:nvPr/>
        </p:nvSpPr>
        <p:spPr>
          <a:xfrm>
            <a:off x="514350" y="1024800"/>
            <a:ext cx="8115300" cy="336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lt2"/>
                </a:solidFill>
                <a:latin typeface="Titillium Web"/>
                <a:ea typeface="Titillium Web"/>
                <a:cs typeface="Titillium Web"/>
                <a:sym typeface="Titillium Web"/>
              </a:rPr>
              <a:t>This is a template, please download this template and update it with your team</a:t>
            </a:r>
            <a:endParaRPr sz="3600" b="1" dirty="0">
              <a:solidFill>
                <a:schemeClr val="lt2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900" b="1" dirty="0">
              <a:solidFill>
                <a:schemeClr val="lt2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b="1" dirty="0">
                <a:solidFill>
                  <a:schemeClr val="lt2"/>
                </a:solidFill>
                <a:latin typeface="Titillium Web"/>
                <a:ea typeface="Titillium Web"/>
                <a:cs typeface="Titillium Web"/>
                <a:sym typeface="Titillium Web"/>
              </a:rPr>
              <a:t>Make sure your Proposal is uploaded </a:t>
            </a:r>
            <a:endParaRPr sz="1800" b="1" dirty="0">
              <a:solidFill>
                <a:schemeClr val="lt2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1800" b="1" u="sng" dirty="0">
                <a:solidFill>
                  <a:schemeClr val="hlink"/>
                </a:solidFill>
                <a:latin typeface="Titillium Web"/>
                <a:ea typeface="Titillium Web"/>
                <a:cs typeface="Titillium Web"/>
                <a:sym typeface="Titillium Web"/>
                <a:hlinkClick r:id="rId5"/>
              </a:rPr>
              <a:t>HERE</a:t>
            </a:r>
            <a:r>
              <a:rPr lang="en" sz="1800" b="1" dirty="0">
                <a:solidFill>
                  <a:schemeClr val="lt2"/>
                </a:solidFill>
                <a:latin typeface="Titillium Web"/>
                <a:ea typeface="Titillium Web"/>
                <a:cs typeface="Titillium Web"/>
                <a:sym typeface="Titillium Web"/>
              </a:rPr>
              <a:t> before the deadline</a:t>
            </a:r>
            <a:endParaRPr sz="5100" b="1" dirty="0">
              <a:solidFill>
                <a:schemeClr val="lt2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5700" b="1" dirty="0">
              <a:solidFill>
                <a:schemeClr val="lt2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g21570a8a96d_0_414"/>
          <p:cNvSpPr/>
          <p:nvPr/>
        </p:nvSpPr>
        <p:spPr>
          <a:xfrm>
            <a:off x="6110908" y="453063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 extrusionOk="0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2" name="Google Shape;472;g21570a8a96d_0_414"/>
          <p:cNvSpPr/>
          <p:nvPr/>
        </p:nvSpPr>
        <p:spPr>
          <a:xfrm>
            <a:off x="514350" y="4530635"/>
            <a:ext cx="1128776" cy="475804"/>
          </a:xfrm>
          <a:custGeom>
            <a:avLst/>
            <a:gdLst/>
            <a:ahLst/>
            <a:cxnLst/>
            <a:rect l="l" t="t" r="r" b="b"/>
            <a:pathLst>
              <a:path w="2257552" h="951609" extrusionOk="0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3" name="Google Shape;473;g21570a8a96d_0_414"/>
          <p:cNvSpPr txBox="1"/>
          <p:nvPr/>
        </p:nvSpPr>
        <p:spPr>
          <a:xfrm>
            <a:off x="1833450" y="449475"/>
            <a:ext cx="5477100" cy="116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SzPts val="2800"/>
              <a:buNone/>
            </a:pPr>
            <a:r>
              <a:rPr lang="en" sz="2600"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What’s the key thing that attracted you to each other?</a:t>
            </a:r>
            <a:endParaRPr sz="2400" b="1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3100"/>
              <a:buNone/>
            </a:pPr>
            <a:endParaRPr sz="2400" b="1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8" name="Google Shape;478;g21570a8a96d_0_421"/>
          <p:cNvSpPr/>
          <p:nvPr/>
        </p:nvSpPr>
        <p:spPr>
          <a:xfrm>
            <a:off x="6110908" y="453063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 extrusionOk="0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9" name="Google Shape;479;g21570a8a96d_0_421"/>
          <p:cNvSpPr/>
          <p:nvPr/>
        </p:nvSpPr>
        <p:spPr>
          <a:xfrm>
            <a:off x="514350" y="4530635"/>
            <a:ext cx="1128776" cy="475804"/>
          </a:xfrm>
          <a:custGeom>
            <a:avLst/>
            <a:gdLst/>
            <a:ahLst/>
            <a:cxnLst/>
            <a:rect l="l" t="t" r="r" b="b"/>
            <a:pathLst>
              <a:path w="2257552" h="951609" extrusionOk="0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0" name="Google Shape;480;g21570a8a96d_0_421"/>
          <p:cNvSpPr txBox="1"/>
          <p:nvPr/>
        </p:nvSpPr>
        <p:spPr>
          <a:xfrm>
            <a:off x="1833450" y="449475"/>
            <a:ext cx="5477100" cy="116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SzPts val="2800"/>
              <a:buNone/>
            </a:pPr>
            <a:r>
              <a:rPr lang="en" sz="2600"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Do you have any differences? </a:t>
            </a:r>
            <a:endParaRPr sz="2600" b="1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2800"/>
              <a:buNone/>
            </a:pPr>
            <a:endParaRPr sz="2600" b="1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3100"/>
              <a:buNone/>
            </a:pPr>
            <a:endParaRPr sz="2400" b="1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5" name="Google Shape;485;g21570a8a96d_0_427"/>
          <p:cNvSpPr/>
          <p:nvPr/>
        </p:nvSpPr>
        <p:spPr>
          <a:xfrm>
            <a:off x="6110908" y="453063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 extrusionOk="0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6" name="Google Shape;486;g21570a8a96d_0_427"/>
          <p:cNvSpPr/>
          <p:nvPr/>
        </p:nvSpPr>
        <p:spPr>
          <a:xfrm>
            <a:off x="514350" y="4530635"/>
            <a:ext cx="1128776" cy="475804"/>
          </a:xfrm>
          <a:custGeom>
            <a:avLst/>
            <a:gdLst/>
            <a:ahLst/>
            <a:cxnLst/>
            <a:rect l="l" t="t" r="r" b="b"/>
            <a:pathLst>
              <a:path w="2257552" h="951609" extrusionOk="0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7" name="Google Shape;487;g21570a8a96d_0_427"/>
          <p:cNvSpPr txBox="1"/>
          <p:nvPr/>
        </p:nvSpPr>
        <p:spPr>
          <a:xfrm>
            <a:off x="1833450" y="449475"/>
            <a:ext cx="5477100" cy="1569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SzPts val="2800"/>
              <a:buNone/>
            </a:pPr>
            <a:r>
              <a:rPr lang="en" sz="2600"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Do you have complementary skills, experience and professional network?</a:t>
            </a:r>
            <a:endParaRPr sz="2600" b="1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2800"/>
              <a:buNone/>
            </a:pPr>
            <a:endParaRPr sz="2600" b="1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3100"/>
              <a:buNone/>
            </a:pPr>
            <a:endParaRPr sz="2400" b="1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2" name="Google Shape;492;g21570a8a96d_0_433"/>
          <p:cNvSpPr/>
          <p:nvPr/>
        </p:nvSpPr>
        <p:spPr>
          <a:xfrm>
            <a:off x="6110908" y="453063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 extrusionOk="0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3" name="Google Shape;493;g21570a8a96d_0_433"/>
          <p:cNvSpPr/>
          <p:nvPr/>
        </p:nvSpPr>
        <p:spPr>
          <a:xfrm>
            <a:off x="514350" y="4530635"/>
            <a:ext cx="1128776" cy="475804"/>
          </a:xfrm>
          <a:custGeom>
            <a:avLst/>
            <a:gdLst/>
            <a:ahLst/>
            <a:cxnLst/>
            <a:rect l="l" t="t" r="r" b="b"/>
            <a:pathLst>
              <a:path w="2257552" h="951609" extrusionOk="0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4" name="Google Shape;494;g21570a8a96d_0_433"/>
          <p:cNvSpPr txBox="1"/>
          <p:nvPr/>
        </p:nvSpPr>
        <p:spPr>
          <a:xfrm>
            <a:off x="1833450" y="449475"/>
            <a:ext cx="5477100" cy="2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SzPts val="2800"/>
              <a:buNone/>
            </a:pPr>
            <a:r>
              <a:rPr lang="en" sz="2500"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Do you have a shared vision and ambition when it comes to the development of a startup? </a:t>
            </a:r>
            <a:endParaRPr sz="2500" b="1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SzPts val="2800"/>
              <a:buNone/>
            </a:pPr>
            <a:endParaRPr sz="2600" b="1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2800"/>
              <a:buNone/>
            </a:pPr>
            <a:endParaRPr sz="2600" b="1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3100"/>
              <a:buNone/>
            </a:pPr>
            <a:endParaRPr sz="2400" b="1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9" name="Google Shape;499;g21570a8a96d_0_439"/>
          <p:cNvSpPr/>
          <p:nvPr/>
        </p:nvSpPr>
        <p:spPr>
          <a:xfrm>
            <a:off x="6110908" y="453063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 extrusionOk="0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0" name="Google Shape;500;g21570a8a96d_0_439"/>
          <p:cNvSpPr/>
          <p:nvPr/>
        </p:nvSpPr>
        <p:spPr>
          <a:xfrm>
            <a:off x="514350" y="4530635"/>
            <a:ext cx="1128776" cy="475804"/>
          </a:xfrm>
          <a:custGeom>
            <a:avLst/>
            <a:gdLst/>
            <a:ahLst/>
            <a:cxnLst/>
            <a:rect l="l" t="t" r="r" b="b"/>
            <a:pathLst>
              <a:path w="2257552" h="951609" extrusionOk="0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1" name="Google Shape;501;g21570a8a96d_0_439"/>
          <p:cNvSpPr txBox="1"/>
          <p:nvPr/>
        </p:nvSpPr>
        <p:spPr>
          <a:xfrm>
            <a:off x="1833450" y="449475"/>
            <a:ext cx="5477100" cy="2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SzPts val="2800"/>
              <a:buNone/>
            </a:pPr>
            <a:r>
              <a:rPr lang="en" sz="2500"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Do you see any potential risks/problems/challenges within your new team?</a:t>
            </a:r>
            <a:endParaRPr sz="2500" b="1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SzPts val="2800"/>
              <a:buNone/>
            </a:pPr>
            <a:endParaRPr sz="2600" b="1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2800"/>
              <a:buNone/>
            </a:pPr>
            <a:endParaRPr sz="2600" b="1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3100"/>
              <a:buNone/>
            </a:pPr>
            <a:endParaRPr sz="2400" b="1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6" name="Google Shape;506;g21570a8a96d_0_636"/>
          <p:cNvSpPr/>
          <p:nvPr/>
        </p:nvSpPr>
        <p:spPr>
          <a:xfrm>
            <a:off x="6110908" y="453063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 extrusionOk="0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7" name="Google Shape;507;g21570a8a96d_0_636"/>
          <p:cNvSpPr/>
          <p:nvPr/>
        </p:nvSpPr>
        <p:spPr>
          <a:xfrm>
            <a:off x="514350" y="4530635"/>
            <a:ext cx="1128776" cy="475804"/>
          </a:xfrm>
          <a:custGeom>
            <a:avLst/>
            <a:gdLst/>
            <a:ahLst/>
            <a:cxnLst/>
            <a:rect l="l" t="t" r="r" b="b"/>
            <a:pathLst>
              <a:path w="2257552" h="951609" extrusionOk="0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8" name="Google Shape;508;g21570a8a96d_0_636"/>
          <p:cNvSpPr txBox="1"/>
          <p:nvPr/>
        </p:nvSpPr>
        <p:spPr>
          <a:xfrm>
            <a:off x="1833450" y="449475"/>
            <a:ext cx="5477100" cy="8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SzPts val="2800"/>
              <a:buNone/>
            </a:pPr>
            <a:r>
              <a:rPr lang="en" sz="2800"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Exploration Phase</a:t>
            </a:r>
            <a:endParaRPr sz="2600" b="1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3100"/>
              <a:buNone/>
            </a:pPr>
            <a:endParaRPr sz="2400" b="1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509" name="Google Shape;509;g21570a8a96d_0_636"/>
          <p:cNvSpPr txBox="1"/>
          <p:nvPr/>
        </p:nvSpPr>
        <p:spPr>
          <a:xfrm>
            <a:off x="1794638" y="1525300"/>
            <a:ext cx="3000000" cy="92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What do you expect from this phase?</a:t>
            </a:r>
            <a:endParaRPr b="1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510" name="Google Shape;510;g21570a8a96d_0_636"/>
          <p:cNvSpPr txBox="1"/>
          <p:nvPr/>
        </p:nvSpPr>
        <p:spPr>
          <a:xfrm>
            <a:off x="1794638" y="2448700"/>
            <a:ext cx="3000000" cy="133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rPr>
              <a:t>Example: What type of training and support would you like to see in the programme? </a:t>
            </a:r>
            <a:endParaRPr sz="1500">
              <a:solidFill>
                <a:schemeClr val="dk2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rPr>
              <a:t>What would you like to achieve by the end of Exploration?</a:t>
            </a:r>
            <a:endParaRPr/>
          </a:p>
        </p:txBody>
      </p:sp>
      <p:sp>
        <p:nvSpPr>
          <p:cNvPr id="511" name="Google Shape;511;g21570a8a96d_0_636"/>
          <p:cNvSpPr/>
          <p:nvPr/>
        </p:nvSpPr>
        <p:spPr>
          <a:xfrm>
            <a:off x="5225288" y="1755637"/>
            <a:ext cx="2124063" cy="1801914"/>
          </a:xfrm>
          <a:custGeom>
            <a:avLst/>
            <a:gdLst/>
            <a:ahLst/>
            <a:cxnLst/>
            <a:rect l="l" t="t" r="r" b="b"/>
            <a:pathLst>
              <a:path w="2731914" h="2317574" extrusionOk="0">
                <a:moveTo>
                  <a:pt x="0" y="0"/>
                </a:moveTo>
                <a:lnTo>
                  <a:pt x="2731914" y="0"/>
                </a:lnTo>
                <a:lnTo>
                  <a:pt x="2731914" y="2317574"/>
                </a:lnTo>
                <a:lnTo>
                  <a:pt x="0" y="2317574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5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6" name="Google Shape;516;g21570a8a96d_0_648"/>
          <p:cNvSpPr txBox="1"/>
          <p:nvPr/>
        </p:nvSpPr>
        <p:spPr>
          <a:xfrm>
            <a:off x="1833450" y="449475"/>
            <a:ext cx="5477100" cy="16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SzPts val="2800"/>
              <a:buNone/>
            </a:pPr>
            <a:r>
              <a:rPr lang="en" sz="2800"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Exploration Phase</a:t>
            </a:r>
            <a:endParaRPr sz="2800" b="1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What do you expect from this phase?</a:t>
            </a:r>
            <a:endParaRPr b="1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SzPts val="2800"/>
              <a:buNone/>
            </a:pPr>
            <a:endParaRPr sz="2800" b="1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3100"/>
              <a:buNone/>
            </a:pPr>
            <a:endParaRPr sz="2400" b="1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517" name="Google Shape;517;g21570a8a96d_0_648"/>
          <p:cNvSpPr/>
          <p:nvPr/>
        </p:nvSpPr>
        <p:spPr>
          <a:xfrm>
            <a:off x="6110908" y="453063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 extrusionOk="0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8" name="Google Shape;518;g21570a8a96d_0_648"/>
          <p:cNvSpPr/>
          <p:nvPr/>
        </p:nvSpPr>
        <p:spPr>
          <a:xfrm>
            <a:off x="514350" y="4530635"/>
            <a:ext cx="1128776" cy="475804"/>
          </a:xfrm>
          <a:custGeom>
            <a:avLst/>
            <a:gdLst/>
            <a:ahLst/>
            <a:cxnLst/>
            <a:rect l="l" t="t" r="r" b="b"/>
            <a:pathLst>
              <a:path w="2257552" h="951609" extrusionOk="0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3" name="Google Shape;523;g21570a8a96d_0_615"/>
          <p:cNvSpPr txBox="1">
            <a:spLocks noGrp="1"/>
          </p:cNvSpPr>
          <p:nvPr>
            <p:ph type="subTitle" idx="4294967295"/>
          </p:nvPr>
        </p:nvSpPr>
        <p:spPr>
          <a:xfrm>
            <a:off x="1131725" y="1189888"/>
            <a:ext cx="3246600" cy="50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" b="1" dirty="0">
                <a:latin typeface="Titillium Web"/>
                <a:ea typeface="Titillium Web"/>
                <a:cs typeface="Titillium Web"/>
                <a:sym typeface="Titillium Web"/>
              </a:rPr>
              <a:t>Priorities (short term)</a:t>
            </a:r>
            <a:endParaRPr b="1" dirty="0"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524" name="Google Shape;524;g21570a8a96d_0_615"/>
          <p:cNvSpPr txBox="1">
            <a:spLocks noGrp="1"/>
          </p:cNvSpPr>
          <p:nvPr>
            <p:ph type="subTitle" idx="4294967295"/>
          </p:nvPr>
        </p:nvSpPr>
        <p:spPr>
          <a:xfrm>
            <a:off x="4765613" y="1242850"/>
            <a:ext cx="3246600" cy="50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" b="1" dirty="0">
                <a:latin typeface="Titillium Web"/>
                <a:ea typeface="Titillium Web"/>
                <a:cs typeface="Titillium Web"/>
                <a:sym typeface="Titillium Web"/>
              </a:rPr>
              <a:t>Goals (long term)</a:t>
            </a:r>
            <a:endParaRPr b="1" dirty="0"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525" name="Google Shape;525;g21570a8a96d_0_615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</a:pPr>
            <a:r>
              <a:rPr lang="en" b="1">
                <a:latin typeface="Titillium Web"/>
                <a:ea typeface="Titillium Web"/>
                <a:cs typeface="Titillium Web"/>
                <a:sym typeface="Titillium Web"/>
              </a:rPr>
              <a:t>Plan for the Exploration phase</a:t>
            </a:r>
            <a:endParaRPr b="1"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526" name="Google Shape;526;g21570a8a96d_0_615"/>
          <p:cNvSpPr/>
          <p:nvPr/>
        </p:nvSpPr>
        <p:spPr>
          <a:xfrm>
            <a:off x="3262925" y="4027850"/>
            <a:ext cx="2618100" cy="638100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7" name="Google Shape;527;g21570a8a96d_0_615"/>
          <p:cNvSpPr txBox="1"/>
          <p:nvPr/>
        </p:nvSpPr>
        <p:spPr>
          <a:xfrm>
            <a:off x="4108662" y="4351550"/>
            <a:ext cx="926700" cy="3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" sz="14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rPr>
              <a:t>Month </a:t>
            </a:r>
            <a:r>
              <a:rPr lang="en" b="1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rPr>
              <a:t>1</a:t>
            </a:r>
            <a:endParaRPr sz="1400" b="1" i="0" u="none" strike="noStrike" cap="none">
              <a:solidFill>
                <a:schemeClr val="dk1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528" name="Google Shape;528;g21570a8a96d_0_615"/>
          <p:cNvSpPr/>
          <p:nvPr/>
        </p:nvSpPr>
        <p:spPr>
          <a:xfrm>
            <a:off x="6110908" y="452003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 extrusionOk="0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9" name="Google Shape;529;g21570a8a96d_0_615"/>
          <p:cNvSpPr/>
          <p:nvPr/>
        </p:nvSpPr>
        <p:spPr>
          <a:xfrm>
            <a:off x="514350" y="4520035"/>
            <a:ext cx="1128776" cy="475804"/>
          </a:xfrm>
          <a:custGeom>
            <a:avLst/>
            <a:gdLst/>
            <a:ahLst/>
            <a:cxnLst/>
            <a:rect l="l" t="t" r="r" b="b"/>
            <a:pathLst>
              <a:path w="2257552" h="951609" extrusionOk="0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530" name="Google Shape;530;g21570a8a96d_0_615"/>
          <p:cNvGrpSpPr/>
          <p:nvPr/>
        </p:nvGrpSpPr>
        <p:grpSpPr>
          <a:xfrm>
            <a:off x="1750888" y="1607347"/>
            <a:ext cx="2390463" cy="2420487"/>
            <a:chOff x="10299" y="6866"/>
            <a:chExt cx="2327617" cy="2357082"/>
          </a:xfrm>
        </p:grpSpPr>
        <p:grpSp>
          <p:nvGrpSpPr>
            <p:cNvPr id="531" name="Google Shape;531;g21570a8a96d_0_615"/>
            <p:cNvGrpSpPr/>
            <p:nvPr/>
          </p:nvGrpSpPr>
          <p:grpSpPr>
            <a:xfrm>
              <a:off x="10299" y="6866"/>
              <a:ext cx="2327617" cy="2357082"/>
              <a:chOff x="15240" y="10160"/>
              <a:chExt cx="3444240" cy="3487839"/>
            </a:xfrm>
          </p:grpSpPr>
          <p:sp>
            <p:nvSpPr>
              <p:cNvPr id="532" name="Google Shape;532;g21570a8a96d_0_615"/>
              <p:cNvSpPr/>
              <p:nvPr/>
            </p:nvSpPr>
            <p:spPr>
              <a:xfrm>
                <a:off x="15240" y="248920"/>
                <a:ext cx="3444240" cy="3249079"/>
              </a:xfrm>
              <a:custGeom>
                <a:avLst/>
                <a:gdLst/>
                <a:ahLst/>
                <a:cxnLst/>
                <a:rect l="l" t="t" r="r" b="b"/>
                <a:pathLst>
                  <a:path w="3444240" h="3249079" extrusionOk="0">
                    <a:moveTo>
                      <a:pt x="3441700" y="645160"/>
                    </a:moveTo>
                    <a:cubicBezTo>
                      <a:pt x="3444240" y="488950"/>
                      <a:pt x="3422650" y="30480"/>
                      <a:pt x="3422650" y="30480"/>
                    </a:cubicBezTo>
                    <a:cubicBezTo>
                      <a:pt x="3422650" y="30480"/>
                      <a:pt x="3037840" y="40640"/>
                      <a:pt x="2684780" y="40640"/>
                    </a:cubicBezTo>
                    <a:cubicBezTo>
                      <a:pt x="2653030" y="40640"/>
                      <a:pt x="2401570" y="40640"/>
                      <a:pt x="2341880" y="40640"/>
                    </a:cubicBezTo>
                    <a:cubicBezTo>
                      <a:pt x="1906270" y="40640"/>
                      <a:pt x="1042670" y="38100"/>
                      <a:pt x="795020" y="33020"/>
                    </a:cubicBezTo>
                    <a:cubicBezTo>
                      <a:pt x="482600" y="20320"/>
                      <a:pt x="11430" y="0"/>
                      <a:pt x="10160" y="29210"/>
                    </a:cubicBezTo>
                    <a:cubicBezTo>
                      <a:pt x="8890" y="58420"/>
                      <a:pt x="21590" y="440690"/>
                      <a:pt x="21590" y="440690"/>
                    </a:cubicBezTo>
                    <a:cubicBezTo>
                      <a:pt x="21590" y="440690"/>
                      <a:pt x="21590" y="2400719"/>
                      <a:pt x="21590" y="2592489"/>
                    </a:cubicBezTo>
                    <a:cubicBezTo>
                      <a:pt x="6350" y="2837599"/>
                      <a:pt x="0" y="3210979"/>
                      <a:pt x="0" y="3210979"/>
                    </a:cubicBezTo>
                    <a:cubicBezTo>
                      <a:pt x="204470" y="3241459"/>
                      <a:pt x="450850" y="3249079"/>
                      <a:pt x="657860" y="3246539"/>
                    </a:cubicBezTo>
                    <a:cubicBezTo>
                      <a:pt x="891540" y="3246539"/>
                      <a:pt x="2616200" y="3246539"/>
                      <a:pt x="2616200" y="3246539"/>
                    </a:cubicBezTo>
                    <a:lnTo>
                      <a:pt x="3402330" y="3232569"/>
                    </a:lnTo>
                    <a:cubicBezTo>
                      <a:pt x="3402330" y="3232569"/>
                      <a:pt x="3441700" y="2530259"/>
                      <a:pt x="3441700" y="2404529"/>
                    </a:cubicBezTo>
                    <a:cubicBezTo>
                      <a:pt x="3441700" y="2230539"/>
                      <a:pt x="3439160" y="803910"/>
                      <a:pt x="3441700" y="645160"/>
                    </a:cubicBezTo>
                    <a:close/>
                  </a:path>
                </a:pathLst>
              </a:custGeom>
              <a:solidFill>
                <a:srgbClr val="CAC0F6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3" name="Google Shape;533;g21570a8a96d_0_615"/>
              <p:cNvSpPr/>
              <p:nvPr/>
            </p:nvSpPr>
            <p:spPr>
              <a:xfrm>
                <a:off x="469900" y="10160"/>
                <a:ext cx="1583690" cy="554990"/>
              </a:xfrm>
              <a:custGeom>
                <a:avLst/>
                <a:gdLst/>
                <a:ahLst/>
                <a:cxnLst/>
                <a:rect l="l" t="t" r="r" b="b"/>
                <a:pathLst>
                  <a:path w="1583690" h="554990" extrusionOk="0">
                    <a:moveTo>
                      <a:pt x="27940" y="0"/>
                    </a:moveTo>
                    <a:cubicBezTo>
                      <a:pt x="27940" y="0"/>
                      <a:pt x="990600" y="95250"/>
                      <a:pt x="1109980" y="97790"/>
                    </a:cubicBezTo>
                    <a:lnTo>
                      <a:pt x="1558290" y="106680"/>
                    </a:lnTo>
                    <a:lnTo>
                      <a:pt x="1557020" y="199390"/>
                    </a:lnTo>
                    <a:cubicBezTo>
                      <a:pt x="1557020" y="199390"/>
                      <a:pt x="1583690" y="342900"/>
                      <a:pt x="1582420" y="402590"/>
                    </a:cubicBezTo>
                    <a:lnTo>
                      <a:pt x="1579880" y="554990"/>
                    </a:lnTo>
                    <a:cubicBezTo>
                      <a:pt x="1579880" y="554990"/>
                      <a:pt x="975360" y="504190"/>
                      <a:pt x="825500" y="497840"/>
                    </a:cubicBezTo>
                    <a:cubicBezTo>
                      <a:pt x="511810" y="482600"/>
                      <a:pt x="11430" y="414020"/>
                      <a:pt x="11430" y="414020"/>
                    </a:cubicBezTo>
                    <a:lnTo>
                      <a:pt x="0" y="261620"/>
                    </a:lnTo>
                    <a:lnTo>
                      <a:pt x="48260" y="135890"/>
                    </a:lnTo>
                    <a:lnTo>
                      <a:pt x="2794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534" name="Google Shape;534;g21570a8a96d_0_615"/>
            <p:cNvSpPr txBox="1"/>
            <p:nvPr/>
          </p:nvSpPr>
          <p:spPr>
            <a:xfrm>
              <a:off x="252418" y="817299"/>
              <a:ext cx="1841700" cy="741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457200" lvl="0" indent="-32385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500"/>
                <a:buFont typeface="Titillium Web"/>
                <a:buChar char="●"/>
              </a:pPr>
              <a:r>
                <a:rPr lang="en" sz="1650">
                  <a:solidFill>
                    <a:schemeClr val="dk1"/>
                  </a:solidFill>
                  <a:latin typeface="Titillium Web"/>
                  <a:ea typeface="Titillium Web"/>
                  <a:cs typeface="Titillium Web"/>
                  <a:sym typeface="Titillium Web"/>
                </a:rPr>
                <a:t>First priority</a:t>
              </a:r>
              <a:endParaRPr sz="165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endParaRPr>
            </a:p>
            <a:p>
              <a:pPr marL="457200" lvl="0" indent="-32385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500"/>
                <a:buFont typeface="Titillium Web"/>
                <a:buChar char="●"/>
              </a:pPr>
              <a:r>
                <a:rPr lang="en" sz="1650">
                  <a:solidFill>
                    <a:schemeClr val="dk1"/>
                  </a:solidFill>
                  <a:latin typeface="Titillium Web"/>
                  <a:ea typeface="Titillium Web"/>
                  <a:cs typeface="Titillium Web"/>
                  <a:sym typeface="Titillium Web"/>
                </a:rPr>
                <a:t>Second priority</a:t>
              </a:r>
              <a:endParaRPr sz="165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endParaRPr>
            </a:p>
            <a:p>
              <a:pPr marL="457200" lvl="0" indent="-32385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500"/>
                <a:buFont typeface="Titillium Web"/>
                <a:buChar char="●"/>
              </a:pPr>
              <a:r>
                <a:rPr lang="en" sz="1650">
                  <a:solidFill>
                    <a:schemeClr val="dk1"/>
                  </a:solidFill>
                  <a:latin typeface="Titillium Web"/>
                  <a:ea typeface="Titillium Web"/>
                  <a:cs typeface="Titillium Web"/>
                  <a:sym typeface="Titillium Web"/>
                </a:rPr>
                <a:t>NNN priority</a:t>
              </a:r>
              <a:endParaRPr/>
            </a:p>
          </p:txBody>
        </p:sp>
      </p:grpSp>
      <p:grpSp>
        <p:nvGrpSpPr>
          <p:cNvPr id="535" name="Google Shape;535;g21570a8a96d_0_615"/>
          <p:cNvGrpSpPr/>
          <p:nvPr/>
        </p:nvGrpSpPr>
        <p:grpSpPr>
          <a:xfrm>
            <a:off x="5260723" y="1698400"/>
            <a:ext cx="2348209" cy="2329446"/>
            <a:chOff x="0" y="0"/>
            <a:chExt cx="2387604" cy="2368526"/>
          </a:xfrm>
        </p:grpSpPr>
        <p:grpSp>
          <p:nvGrpSpPr>
            <p:cNvPr id="536" name="Google Shape;536;g21570a8a96d_0_615"/>
            <p:cNvGrpSpPr/>
            <p:nvPr/>
          </p:nvGrpSpPr>
          <p:grpSpPr>
            <a:xfrm>
              <a:off x="0" y="0"/>
              <a:ext cx="2387604" cy="2368526"/>
              <a:chOff x="0" y="0"/>
              <a:chExt cx="3178810" cy="3153410"/>
            </a:xfrm>
          </p:grpSpPr>
          <p:sp>
            <p:nvSpPr>
              <p:cNvPr id="537" name="Google Shape;537;g21570a8a96d_0_615"/>
              <p:cNvSpPr/>
              <p:nvPr/>
            </p:nvSpPr>
            <p:spPr>
              <a:xfrm>
                <a:off x="0" y="218440"/>
                <a:ext cx="3178810" cy="2934970"/>
              </a:xfrm>
              <a:custGeom>
                <a:avLst/>
                <a:gdLst/>
                <a:ahLst/>
                <a:cxnLst/>
                <a:rect l="l" t="t" r="r" b="b"/>
                <a:pathLst>
                  <a:path w="3178810" h="2934970" extrusionOk="0">
                    <a:moveTo>
                      <a:pt x="0" y="16510"/>
                    </a:moveTo>
                    <a:cubicBezTo>
                      <a:pt x="0" y="16510"/>
                      <a:pt x="2540" y="345440"/>
                      <a:pt x="2540" y="754380"/>
                    </a:cubicBezTo>
                    <a:cubicBezTo>
                      <a:pt x="2540" y="1163320"/>
                      <a:pt x="7620" y="1753870"/>
                      <a:pt x="7620" y="2014220"/>
                    </a:cubicBezTo>
                    <a:cubicBezTo>
                      <a:pt x="7620" y="2208530"/>
                      <a:pt x="16510" y="2607310"/>
                      <a:pt x="21590" y="2799080"/>
                    </a:cubicBezTo>
                    <a:lnTo>
                      <a:pt x="130810" y="2913380"/>
                    </a:lnTo>
                    <a:cubicBezTo>
                      <a:pt x="275590" y="2921000"/>
                      <a:pt x="543560" y="2934970"/>
                      <a:pt x="793750" y="2934970"/>
                    </a:cubicBezTo>
                    <a:lnTo>
                      <a:pt x="3178810" y="2934970"/>
                    </a:lnTo>
                    <a:lnTo>
                      <a:pt x="3178810" y="698500"/>
                    </a:lnTo>
                    <a:cubicBezTo>
                      <a:pt x="3178810" y="323850"/>
                      <a:pt x="3169920" y="46990"/>
                      <a:pt x="3169920" y="46990"/>
                    </a:cubicBezTo>
                    <a:cubicBezTo>
                      <a:pt x="3014980" y="26670"/>
                      <a:pt x="2858770" y="16510"/>
                      <a:pt x="2701290" y="17780"/>
                    </a:cubicBezTo>
                    <a:cubicBezTo>
                      <a:pt x="2428240" y="17780"/>
                      <a:pt x="944880" y="22860"/>
                      <a:pt x="694690" y="13970"/>
                    </a:cubicBezTo>
                    <a:cubicBezTo>
                      <a:pt x="360680" y="0"/>
                      <a:pt x="0" y="16510"/>
                      <a:pt x="0" y="16510"/>
                    </a:cubicBezTo>
                    <a:close/>
                  </a:path>
                </a:pathLst>
              </a:custGeom>
              <a:solidFill>
                <a:srgbClr val="64519F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8" name="Google Shape;538;g21570a8a96d_0_615"/>
              <p:cNvSpPr/>
              <p:nvPr/>
            </p:nvSpPr>
            <p:spPr>
              <a:xfrm>
                <a:off x="21590" y="0"/>
                <a:ext cx="2689860" cy="3133090"/>
              </a:xfrm>
              <a:custGeom>
                <a:avLst/>
                <a:gdLst/>
                <a:ahLst/>
                <a:cxnLst/>
                <a:rect l="l" t="t" r="r" b="b"/>
                <a:pathLst>
                  <a:path w="2689860" h="3133090" extrusionOk="0">
                    <a:moveTo>
                      <a:pt x="0" y="3018790"/>
                    </a:moveTo>
                    <a:lnTo>
                      <a:pt x="109220" y="3133090"/>
                    </a:lnTo>
                    <a:lnTo>
                      <a:pt x="123190" y="2999740"/>
                    </a:lnTo>
                    <a:lnTo>
                      <a:pt x="0" y="3018790"/>
                    </a:lnTo>
                    <a:close/>
                    <a:moveTo>
                      <a:pt x="1490980" y="106680"/>
                    </a:moveTo>
                    <a:cubicBezTo>
                      <a:pt x="1490980" y="106680"/>
                      <a:pt x="1908810" y="64770"/>
                      <a:pt x="2045970" y="55880"/>
                    </a:cubicBezTo>
                    <a:cubicBezTo>
                      <a:pt x="2183130" y="46990"/>
                      <a:pt x="2663190" y="0"/>
                      <a:pt x="2663190" y="0"/>
                    </a:cubicBezTo>
                    <a:cubicBezTo>
                      <a:pt x="2656840" y="41910"/>
                      <a:pt x="2655570" y="86360"/>
                      <a:pt x="2660650" y="128270"/>
                    </a:cubicBezTo>
                    <a:cubicBezTo>
                      <a:pt x="2667000" y="167640"/>
                      <a:pt x="2669540" y="208280"/>
                      <a:pt x="2668270" y="248920"/>
                    </a:cubicBezTo>
                    <a:lnTo>
                      <a:pt x="2689860" y="318770"/>
                    </a:lnTo>
                    <a:lnTo>
                      <a:pt x="2679700" y="419100"/>
                    </a:lnTo>
                    <a:cubicBezTo>
                      <a:pt x="2679700" y="419100"/>
                      <a:pt x="1929130" y="454660"/>
                      <a:pt x="1791970" y="471170"/>
                    </a:cubicBezTo>
                    <a:cubicBezTo>
                      <a:pt x="1654810" y="487680"/>
                      <a:pt x="1450340" y="486410"/>
                      <a:pt x="1450340" y="486410"/>
                    </a:cubicBezTo>
                    <a:cubicBezTo>
                      <a:pt x="1450340" y="486410"/>
                      <a:pt x="1442720" y="365760"/>
                      <a:pt x="1455420" y="322580"/>
                    </a:cubicBezTo>
                    <a:cubicBezTo>
                      <a:pt x="1465580" y="288290"/>
                      <a:pt x="1469390" y="251460"/>
                      <a:pt x="1464310" y="214630"/>
                    </a:cubicBezTo>
                    <a:cubicBezTo>
                      <a:pt x="1464310" y="186690"/>
                      <a:pt x="1490980" y="106680"/>
                      <a:pt x="1490980" y="10668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539" name="Google Shape;539;g21570a8a96d_0_615"/>
            <p:cNvSpPr txBox="1"/>
            <p:nvPr/>
          </p:nvSpPr>
          <p:spPr>
            <a:xfrm>
              <a:off x="273446" y="867958"/>
              <a:ext cx="1841700" cy="1356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457200" lvl="0" indent="-323850" algn="l" rtl="0"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500"/>
                <a:buFont typeface="Titillium Web"/>
                <a:buChar char="●"/>
              </a:pPr>
              <a:r>
                <a:rPr lang="en" sz="1650">
                  <a:solidFill>
                    <a:schemeClr val="lt1"/>
                  </a:solidFill>
                  <a:latin typeface="Titillium Web"/>
                  <a:ea typeface="Titillium Web"/>
                  <a:cs typeface="Titillium Web"/>
                  <a:sym typeface="Titillium Web"/>
                </a:rPr>
                <a:t>Goal 1</a:t>
              </a:r>
              <a:endParaRPr sz="1650"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endParaRPr>
            </a:p>
            <a:p>
              <a:pPr marL="457200" lvl="0" indent="-323850" algn="l" rtl="0"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500"/>
                <a:buFont typeface="Titillium Web"/>
                <a:buChar char="●"/>
              </a:pPr>
              <a:r>
                <a:rPr lang="en" sz="1650">
                  <a:solidFill>
                    <a:schemeClr val="lt1"/>
                  </a:solidFill>
                  <a:latin typeface="Titillium Web"/>
                  <a:ea typeface="Titillium Web"/>
                  <a:cs typeface="Titillium Web"/>
                  <a:sym typeface="Titillium Web"/>
                </a:rPr>
                <a:t>Goal 2</a:t>
              </a:r>
              <a:endParaRPr sz="1650"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endParaRPr>
            </a:p>
            <a:p>
              <a:pPr marL="457200" lvl="0" indent="-323850" algn="l" rtl="0"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500"/>
                <a:buFont typeface="Titillium Web"/>
                <a:buChar char="●"/>
              </a:pPr>
              <a:r>
                <a:rPr lang="en" sz="1650">
                  <a:solidFill>
                    <a:schemeClr val="lt1"/>
                  </a:solidFill>
                  <a:latin typeface="Titillium Web"/>
                  <a:ea typeface="Titillium Web"/>
                  <a:cs typeface="Titillium Web"/>
                  <a:sym typeface="Titillium Web"/>
                </a:rPr>
                <a:t>Goal 3</a:t>
              </a:r>
              <a:endParaRPr sz="1650"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endParaRPr>
            </a:p>
            <a:p>
              <a:pPr marL="457200" lvl="0" indent="0" algn="l" rtl="0">
                <a:spcBef>
                  <a:spcPts val="0"/>
                </a:spcBef>
                <a:spcAft>
                  <a:spcPts val="0"/>
                </a:spcAft>
                <a:buSzPts val="1500"/>
                <a:buNone/>
              </a:pPr>
              <a:endParaRPr sz="165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endParaRPr>
            </a:p>
            <a:p>
              <a:pPr marL="0" marR="0" lvl="0" indent="0" algn="ctr" rtl="0">
                <a:lnSpc>
                  <a:spcPct val="140019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064">
                <a:solidFill>
                  <a:srgbClr val="FFFFFF"/>
                </a:solidFill>
                <a:latin typeface="DM Sans"/>
                <a:ea typeface="DM Sans"/>
                <a:cs typeface="DM Sans"/>
                <a:sym typeface="DM Sans"/>
              </a:endParaRPr>
            </a:p>
          </p:txBody>
        </p:sp>
      </p:grpSp>
      <p:sp>
        <p:nvSpPr>
          <p:cNvPr id="540" name="Google Shape;540;g21570a8a96d_0_615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</a:pPr>
            <a:r>
              <a:rPr lang="en" b="1">
                <a:solidFill>
                  <a:srgbClr val="64519F"/>
                </a:solidFill>
                <a:latin typeface="Titillium Web"/>
                <a:ea typeface="Titillium Web"/>
                <a:cs typeface="Titillium Web"/>
                <a:sym typeface="Titillium Web"/>
              </a:rPr>
              <a:t>Plan for the Exploration phase</a:t>
            </a:r>
            <a:endParaRPr b="1">
              <a:solidFill>
                <a:srgbClr val="64519F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7" name="Google Shape;547;g21570a8a96d_0_586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</a:pPr>
            <a:r>
              <a:rPr lang="en" b="1">
                <a:latin typeface="Titillium Web"/>
                <a:ea typeface="Titillium Web"/>
                <a:cs typeface="Titillium Web"/>
                <a:sym typeface="Titillium Web"/>
              </a:rPr>
              <a:t>Plan for the Exploration phase</a:t>
            </a:r>
            <a:endParaRPr b="1"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548" name="Google Shape;548;g21570a8a96d_0_586"/>
          <p:cNvSpPr/>
          <p:nvPr/>
        </p:nvSpPr>
        <p:spPr>
          <a:xfrm>
            <a:off x="3262925" y="4027850"/>
            <a:ext cx="2618100" cy="638100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49" name="Google Shape;549;g21570a8a96d_0_586"/>
          <p:cNvSpPr txBox="1"/>
          <p:nvPr/>
        </p:nvSpPr>
        <p:spPr>
          <a:xfrm>
            <a:off x="4108662" y="4351550"/>
            <a:ext cx="926700" cy="3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" sz="14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rPr>
              <a:t>Month 2</a:t>
            </a:r>
            <a:endParaRPr sz="1400" b="1" i="0" u="none" strike="noStrike" cap="none">
              <a:solidFill>
                <a:schemeClr val="dk1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550" name="Google Shape;550;g21570a8a96d_0_586"/>
          <p:cNvSpPr/>
          <p:nvPr/>
        </p:nvSpPr>
        <p:spPr>
          <a:xfrm>
            <a:off x="6110908" y="452003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 extrusionOk="0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1" name="Google Shape;551;g21570a8a96d_0_586"/>
          <p:cNvSpPr/>
          <p:nvPr/>
        </p:nvSpPr>
        <p:spPr>
          <a:xfrm>
            <a:off x="514350" y="4520035"/>
            <a:ext cx="1128776" cy="475804"/>
          </a:xfrm>
          <a:custGeom>
            <a:avLst/>
            <a:gdLst/>
            <a:ahLst/>
            <a:cxnLst/>
            <a:rect l="l" t="t" r="r" b="b"/>
            <a:pathLst>
              <a:path w="2257552" h="951609" extrusionOk="0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552" name="Google Shape;552;g21570a8a96d_0_586"/>
          <p:cNvGrpSpPr/>
          <p:nvPr/>
        </p:nvGrpSpPr>
        <p:grpSpPr>
          <a:xfrm>
            <a:off x="1750888" y="1607347"/>
            <a:ext cx="2390463" cy="2420487"/>
            <a:chOff x="10299" y="6866"/>
            <a:chExt cx="2327617" cy="2357082"/>
          </a:xfrm>
        </p:grpSpPr>
        <p:grpSp>
          <p:nvGrpSpPr>
            <p:cNvPr id="553" name="Google Shape;553;g21570a8a96d_0_586"/>
            <p:cNvGrpSpPr/>
            <p:nvPr/>
          </p:nvGrpSpPr>
          <p:grpSpPr>
            <a:xfrm>
              <a:off x="10299" y="6866"/>
              <a:ext cx="2327617" cy="2357082"/>
              <a:chOff x="15240" y="10160"/>
              <a:chExt cx="3444240" cy="3487839"/>
            </a:xfrm>
          </p:grpSpPr>
          <p:sp>
            <p:nvSpPr>
              <p:cNvPr id="554" name="Google Shape;554;g21570a8a96d_0_586"/>
              <p:cNvSpPr/>
              <p:nvPr/>
            </p:nvSpPr>
            <p:spPr>
              <a:xfrm>
                <a:off x="15240" y="248920"/>
                <a:ext cx="3444240" cy="3249079"/>
              </a:xfrm>
              <a:custGeom>
                <a:avLst/>
                <a:gdLst/>
                <a:ahLst/>
                <a:cxnLst/>
                <a:rect l="l" t="t" r="r" b="b"/>
                <a:pathLst>
                  <a:path w="3444240" h="3249079" extrusionOk="0">
                    <a:moveTo>
                      <a:pt x="3441700" y="645160"/>
                    </a:moveTo>
                    <a:cubicBezTo>
                      <a:pt x="3444240" y="488950"/>
                      <a:pt x="3422650" y="30480"/>
                      <a:pt x="3422650" y="30480"/>
                    </a:cubicBezTo>
                    <a:cubicBezTo>
                      <a:pt x="3422650" y="30480"/>
                      <a:pt x="3037840" y="40640"/>
                      <a:pt x="2684780" y="40640"/>
                    </a:cubicBezTo>
                    <a:cubicBezTo>
                      <a:pt x="2653030" y="40640"/>
                      <a:pt x="2401570" y="40640"/>
                      <a:pt x="2341880" y="40640"/>
                    </a:cubicBezTo>
                    <a:cubicBezTo>
                      <a:pt x="1906270" y="40640"/>
                      <a:pt x="1042670" y="38100"/>
                      <a:pt x="795020" y="33020"/>
                    </a:cubicBezTo>
                    <a:cubicBezTo>
                      <a:pt x="482600" y="20320"/>
                      <a:pt x="11430" y="0"/>
                      <a:pt x="10160" y="29210"/>
                    </a:cubicBezTo>
                    <a:cubicBezTo>
                      <a:pt x="8890" y="58420"/>
                      <a:pt x="21590" y="440690"/>
                      <a:pt x="21590" y="440690"/>
                    </a:cubicBezTo>
                    <a:cubicBezTo>
                      <a:pt x="21590" y="440690"/>
                      <a:pt x="21590" y="2400719"/>
                      <a:pt x="21590" y="2592489"/>
                    </a:cubicBezTo>
                    <a:cubicBezTo>
                      <a:pt x="6350" y="2837599"/>
                      <a:pt x="0" y="3210979"/>
                      <a:pt x="0" y="3210979"/>
                    </a:cubicBezTo>
                    <a:cubicBezTo>
                      <a:pt x="204470" y="3241459"/>
                      <a:pt x="450850" y="3249079"/>
                      <a:pt x="657860" y="3246539"/>
                    </a:cubicBezTo>
                    <a:cubicBezTo>
                      <a:pt x="891540" y="3246539"/>
                      <a:pt x="2616200" y="3246539"/>
                      <a:pt x="2616200" y="3246539"/>
                    </a:cubicBezTo>
                    <a:lnTo>
                      <a:pt x="3402330" y="3232569"/>
                    </a:lnTo>
                    <a:cubicBezTo>
                      <a:pt x="3402330" y="3232569"/>
                      <a:pt x="3441700" y="2530259"/>
                      <a:pt x="3441700" y="2404529"/>
                    </a:cubicBezTo>
                    <a:cubicBezTo>
                      <a:pt x="3441700" y="2230539"/>
                      <a:pt x="3439160" y="803910"/>
                      <a:pt x="3441700" y="645160"/>
                    </a:cubicBezTo>
                    <a:close/>
                  </a:path>
                </a:pathLst>
              </a:custGeom>
              <a:solidFill>
                <a:srgbClr val="CAC0F6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5" name="Google Shape;555;g21570a8a96d_0_586"/>
              <p:cNvSpPr/>
              <p:nvPr/>
            </p:nvSpPr>
            <p:spPr>
              <a:xfrm>
                <a:off x="469900" y="10160"/>
                <a:ext cx="1583690" cy="554990"/>
              </a:xfrm>
              <a:custGeom>
                <a:avLst/>
                <a:gdLst/>
                <a:ahLst/>
                <a:cxnLst/>
                <a:rect l="l" t="t" r="r" b="b"/>
                <a:pathLst>
                  <a:path w="1583690" h="554990" extrusionOk="0">
                    <a:moveTo>
                      <a:pt x="27940" y="0"/>
                    </a:moveTo>
                    <a:cubicBezTo>
                      <a:pt x="27940" y="0"/>
                      <a:pt x="990600" y="95250"/>
                      <a:pt x="1109980" y="97790"/>
                    </a:cubicBezTo>
                    <a:lnTo>
                      <a:pt x="1558290" y="106680"/>
                    </a:lnTo>
                    <a:lnTo>
                      <a:pt x="1557020" y="199390"/>
                    </a:lnTo>
                    <a:cubicBezTo>
                      <a:pt x="1557020" y="199390"/>
                      <a:pt x="1583690" y="342900"/>
                      <a:pt x="1582420" y="402590"/>
                    </a:cubicBezTo>
                    <a:lnTo>
                      <a:pt x="1579880" y="554990"/>
                    </a:lnTo>
                    <a:cubicBezTo>
                      <a:pt x="1579880" y="554990"/>
                      <a:pt x="975360" y="504190"/>
                      <a:pt x="825500" y="497840"/>
                    </a:cubicBezTo>
                    <a:cubicBezTo>
                      <a:pt x="511810" y="482600"/>
                      <a:pt x="11430" y="414020"/>
                      <a:pt x="11430" y="414020"/>
                    </a:cubicBezTo>
                    <a:lnTo>
                      <a:pt x="0" y="261620"/>
                    </a:lnTo>
                    <a:lnTo>
                      <a:pt x="48260" y="135890"/>
                    </a:lnTo>
                    <a:lnTo>
                      <a:pt x="2794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556" name="Google Shape;556;g21570a8a96d_0_586"/>
            <p:cNvSpPr txBox="1"/>
            <p:nvPr/>
          </p:nvSpPr>
          <p:spPr>
            <a:xfrm>
              <a:off x="252418" y="817299"/>
              <a:ext cx="1841700" cy="741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457200" lvl="0" indent="-32385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500"/>
                <a:buFont typeface="Titillium Web"/>
                <a:buChar char="●"/>
              </a:pPr>
              <a:r>
                <a:rPr lang="en" sz="1650">
                  <a:solidFill>
                    <a:schemeClr val="dk1"/>
                  </a:solidFill>
                  <a:latin typeface="Titillium Web"/>
                  <a:ea typeface="Titillium Web"/>
                  <a:cs typeface="Titillium Web"/>
                  <a:sym typeface="Titillium Web"/>
                </a:rPr>
                <a:t>First priority</a:t>
              </a:r>
              <a:endParaRPr sz="165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endParaRPr>
            </a:p>
            <a:p>
              <a:pPr marL="457200" lvl="0" indent="-32385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500"/>
                <a:buFont typeface="Titillium Web"/>
                <a:buChar char="●"/>
              </a:pPr>
              <a:r>
                <a:rPr lang="en" sz="1650">
                  <a:solidFill>
                    <a:schemeClr val="dk1"/>
                  </a:solidFill>
                  <a:latin typeface="Titillium Web"/>
                  <a:ea typeface="Titillium Web"/>
                  <a:cs typeface="Titillium Web"/>
                  <a:sym typeface="Titillium Web"/>
                </a:rPr>
                <a:t>Second priority</a:t>
              </a:r>
              <a:endParaRPr sz="165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endParaRPr>
            </a:p>
            <a:p>
              <a:pPr marL="457200" lvl="0" indent="-32385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500"/>
                <a:buFont typeface="Titillium Web"/>
                <a:buChar char="●"/>
              </a:pPr>
              <a:r>
                <a:rPr lang="en" sz="1650">
                  <a:solidFill>
                    <a:schemeClr val="dk1"/>
                  </a:solidFill>
                  <a:latin typeface="Titillium Web"/>
                  <a:ea typeface="Titillium Web"/>
                  <a:cs typeface="Titillium Web"/>
                  <a:sym typeface="Titillium Web"/>
                </a:rPr>
                <a:t>NNN priority</a:t>
              </a:r>
              <a:endParaRPr/>
            </a:p>
          </p:txBody>
        </p:sp>
      </p:grpSp>
      <p:grpSp>
        <p:nvGrpSpPr>
          <p:cNvPr id="557" name="Google Shape;557;g21570a8a96d_0_586"/>
          <p:cNvGrpSpPr/>
          <p:nvPr/>
        </p:nvGrpSpPr>
        <p:grpSpPr>
          <a:xfrm>
            <a:off x="5260723" y="1698400"/>
            <a:ext cx="2348209" cy="2329446"/>
            <a:chOff x="0" y="0"/>
            <a:chExt cx="2387604" cy="2368526"/>
          </a:xfrm>
        </p:grpSpPr>
        <p:grpSp>
          <p:nvGrpSpPr>
            <p:cNvPr id="558" name="Google Shape;558;g21570a8a96d_0_586"/>
            <p:cNvGrpSpPr/>
            <p:nvPr/>
          </p:nvGrpSpPr>
          <p:grpSpPr>
            <a:xfrm>
              <a:off x="0" y="0"/>
              <a:ext cx="2387604" cy="2368526"/>
              <a:chOff x="0" y="0"/>
              <a:chExt cx="3178810" cy="3153410"/>
            </a:xfrm>
          </p:grpSpPr>
          <p:sp>
            <p:nvSpPr>
              <p:cNvPr id="559" name="Google Shape;559;g21570a8a96d_0_586"/>
              <p:cNvSpPr/>
              <p:nvPr/>
            </p:nvSpPr>
            <p:spPr>
              <a:xfrm>
                <a:off x="0" y="218440"/>
                <a:ext cx="3178810" cy="2934970"/>
              </a:xfrm>
              <a:custGeom>
                <a:avLst/>
                <a:gdLst/>
                <a:ahLst/>
                <a:cxnLst/>
                <a:rect l="l" t="t" r="r" b="b"/>
                <a:pathLst>
                  <a:path w="3178810" h="2934970" extrusionOk="0">
                    <a:moveTo>
                      <a:pt x="0" y="16510"/>
                    </a:moveTo>
                    <a:cubicBezTo>
                      <a:pt x="0" y="16510"/>
                      <a:pt x="2540" y="345440"/>
                      <a:pt x="2540" y="754380"/>
                    </a:cubicBezTo>
                    <a:cubicBezTo>
                      <a:pt x="2540" y="1163320"/>
                      <a:pt x="7620" y="1753870"/>
                      <a:pt x="7620" y="2014220"/>
                    </a:cubicBezTo>
                    <a:cubicBezTo>
                      <a:pt x="7620" y="2208530"/>
                      <a:pt x="16510" y="2607310"/>
                      <a:pt x="21590" y="2799080"/>
                    </a:cubicBezTo>
                    <a:lnTo>
                      <a:pt x="130810" y="2913380"/>
                    </a:lnTo>
                    <a:cubicBezTo>
                      <a:pt x="275590" y="2921000"/>
                      <a:pt x="543560" y="2934970"/>
                      <a:pt x="793750" y="2934970"/>
                    </a:cubicBezTo>
                    <a:lnTo>
                      <a:pt x="3178810" y="2934970"/>
                    </a:lnTo>
                    <a:lnTo>
                      <a:pt x="3178810" y="698500"/>
                    </a:lnTo>
                    <a:cubicBezTo>
                      <a:pt x="3178810" y="323850"/>
                      <a:pt x="3169920" y="46990"/>
                      <a:pt x="3169920" y="46990"/>
                    </a:cubicBezTo>
                    <a:cubicBezTo>
                      <a:pt x="3014980" y="26670"/>
                      <a:pt x="2858770" y="16510"/>
                      <a:pt x="2701290" y="17780"/>
                    </a:cubicBezTo>
                    <a:cubicBezTo>
                      <a:pt x="2428240" y="17780"/>
                      <a:pt x="944880" y="22860"/>
                      <a:pt x="694690" y="13970"/>
                    </a:cubicBezTo>
                    <a:cubicBezTo>
                      <a:pt x="360680" y="0"/>
                      <a:pt x="0" y="16510"/>
                      <a:pt x="0" y="16510"/>
                    </a:cubicBezTo>
                    <a:close/>
                  </a:path>
                </a:pathLst>
              </a:custGeom>
              <a:solidFill>
                <a:srgbClr val="64519F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0" name="Google Shape;560;g21570a8a96d_0_586"/>
              <p:cNvSpPr/>
              <p:nvPr/>
            </p:nvSpPr>
            <p:spPr>
              <a:xfrm>
                <a:off x="21590" y="0"/>
                <a:ext cx="2689860" cy="3133090"/>
              </a:xfrm>
              <a:custGeom>
                <a:avLst/>
                <a:gdLst/>
                <a:ahLst/>
                <a:cxnLst/>
                <a:rect l="l" t="t" r="r" b="b"/>
                <a:pathLst>
                  <a:path w="2689860" h="3133090" extrusionOk="0">
                    <a:moveTo>
                      <a:pt x="0" y="3018790"/>
                    </a:moveTo>
                    <a:lnTo>
                      <a:pt x="109220" y="3133090"/>
                    </a:lnTo>
                    <a:lnTo>
                      <a:pt x="123190" y="2999740"/>
                    </a:lnTo>
                    <a:lnTo>
                      <a:pt x="0" y="3018790"/>
                    </a:lnTo>
                    <a:close/>
                    <a:moveTo>
                      <a:pt x="1490980" y="106680"/>
                    </a:moveTo>
                    <a:cubicBezTo>
                      <a:pt x="1490980" y="106680"/>
                      <a:pt x="1908810" y="64770"/>
                      <a:pt x="2045970" y="55880"/>
                    </a:cubicBezTo>
                    <a:cubicBezTo>
                      <a:pt x="2183130" y="46990"/>
                      <a:pt x="2663190" y="0"/>
                      <a:pt x="2663190" y="0"/>
                    </a:cubicBezTo>
                    <a:cubicBezTo>
                      <a:pt x="2656840" y="41910"/>
                      <a:pt x="2655570" y="86360"/>
                      <a:pt x="2660650" y="128270"/>
                    </a:cubicBezTo>
                    <a:cubicBezTo>
                      <a:pt x="2667000" y="167640"/>
                      <a:pt x="2669540" y="208280"/>
                      <a:pt x="2668270" y="248920"/>
                    </a:cubicBezTo>
                    <a:lnTo>
                      <a:pt x="2689860" y="318770"/>
                    </a:lnTo>
                    <a:lnTo>
                      <a:pt x="2679700" y="419100"/>
                    </a:lnTo>
                    <a:cubicBezTo>
                      <a:pt x="2679700" y="419100"/>
                      <a:pt x="1929130" y="454660"/>
                      <a:pt x="1791970" y="471170"/>
                    </a:cubicBezTo>
                    <a:cubicBezTo>
                      <a:pt x="1654810" y="487680"/>
                      <a:pt x="1450340" y="486410"/>
                      <a:pt x="1450340" y="486410"/>
                    </a:cubicBezTo>
                    <a:cubicBezTo>
                      <a:pt x="1450340" y="486410"/>
                      <a:pt x="1442720" y="365760"/>
                      <a:pt x="1455420" y="322580"/>
                    </a:cubicBezTo>
                    <a:cubicBezTo>
                      <a:pt x="1465580" y="288290"/>
                      <a:pt x="1469390" y="251460"/>
                      <a:pt x="1464310" y="214630"/>
                    </a:cubicBezTo>
                    <a:cubicBezTo>
                      <a:pt x="1464310" y="186690"/>
                      <a:pt x="1490980" y="106680"/>
                      <a:pt x="1490980" y="10668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561" name="Google Shape;561;g21570a8a96d_0_586"/>
            <p:cNvSpPr txBox="1"/>
            <p:nvPr/>
          </p:nvSpPr>
          <p:spPr>
            <a:xfrm>
              <a:off x="273446" y="867958"/>
              <a:ext cx="1841700" cy="1356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457200" lvl="0" indent="-323850" algn="l" rtl="0"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500"/>
                <a:buFont typeface="Titillium Web"/>
                <a:buChar char="●"/>
              </a:pPr>
              <a:r>
                <a:rPr lang="en" sz="1650">
                  <a:solidFill>
                    <a:schemeClr val="lt1"/>
                  </a:solidFill>
                  <a:latin typeface="Titillium Web"/>
                  <a:ea typeface="Titillium Web"/>
                  <a:cs typeface="Titillium Web"/>
                  <a:sym typeface="Titillium Web"/>
                </a:rPr>
                <a:t>Goal 1</a:t>
              </a:r>
              <a:endParaRPr sz="1650"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endParaRPr>
            </a:p>
            <a:p>
              <a:pPr marL="457200" lvl="0" indent="-323850" algn="l" rtl="0"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500"/>
                <a:buFont typeface="Titillium Web"/>
                <a:buChar char="●"/>
              </a:pPr>
              <a:r>
                <a:rPr lang="en" sz="1650">
                  <a:solidFill>
                    <a:schemeClr val="lt1"/>
                  </a:solidFill>
                  <a:latin typeface="Titillium Web"/>
                  <a:ea typeface="Titillium Web"/>
                  <a:cs typeface="Titillium Web"/>
                  <a:sym typeface="Titillium Web"/>
                </a:rPr>
                <a:t>Goal 2</a:t>
              </a:r>
              <a:endParaRPr sz="1650"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endParaRPr>
            </a:p>
            <a:p>
              <a:pPr marL="457200" lvl="0" indent="-323850" algn="l" rtl="0"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500"/>
                <a:buFont typeface="Titillium Web"/>
                <a:buChar char="●"/>
              </a:pPr>
              <a:r>
                <a:rPr lang="en" sz="1650">
                  <a:solidFill>
                    <a:schemeClr val="lt1"/>
                  </a:solidFill>
                  <a:latin typeface="Titillium Web"/>
                  <a:ea typeface="Titillium Web"/>
                  <a:cs typeface="Titillium Web"/>
                  <a:sym typeface="Titillium Web"/>
                </a:rPr>
                <a:t>Goal 3</a:t>
              </a:r>
              <a:endParaRPr sz="1650"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endParaRPr>
            </a:p>
            <a:p>
              <a:pPr marL="45720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500"/>
                <a:buFont typeface="Arial"/>
                <a:buNone/>
              </a:pPr>
              <a:endParaRPr sz="165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endParaRPr>
            </a:p>
            <a:p>
              <a:pPr marL="0" marR="0" lvl="0" indent="0" algn="ctr" rtl="0">
                <a:lnSpc>
                  <a:spcPct val="140019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064">
                <a:solidFill>
                  <a:srgbClr val="FFFFFF"/>
                </a:solidFill>
                <a:latin typeface="DM Sans"/>
                <a:ea typeface="DM Sans"/>
                <a:cs typeface="DM Sans"/>
                <a:sym typeface="DM Sans"/>
              </a:endParaRPr>
            </a:p>
          </p:txBody>
        </p:sp>
      </p:grpSp>
      <p:sp>
        <p:nvSpPr>
          <p:cNvPr id="562" name="Google Shape;562;g21570a8a96d_0_586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</a:pPr>
            <a:r>
              <a:rPr lang="en" b="1">
                <a:solidFill>
                  <a:srgbClr val="64519F"/>
                </a:solidFill>
                <a:latin typeface="Titillium Web"/>
                <a:ea typeface="Titillium Web"/>
                <a:cs typeface="Titillium Web"/>
                <a:sym typeface="Titillium Web"/>
              </a:rPr>
              <a:t>Plan for the Exploration phase</a:t>
            </a:r>
            <a:endParaRPr b="1">
              <a:solidFill>
                <a:srgbClr val="64519F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20" name="Google Shape;523;g21570a8a96d_0_615">
            <a:extLst>
              <a:ext uri="{FF2B5EF4-FFF2-40B4-BE49-F238E27FC236}">
                <a16:creationId xmlns:a16="http://schemas.microsoft.com/office/drawing/2014/main" id="{E9646172-A56D-4043-8229-D3740536F4D5}"/>
              </a:ext>
            </a:extLst>
          </p:cNvPr>
          <p:cNvSpPr txBox="1">
            <a:spLocks/>
          </p:cNvSpPr>
          <p:nvPr/>
        </p:nvSpPr>
        <p:spPr>
          <a:xfrm>
            <a:off x="1131725" y="1189888"/>
            <a:ext cx="3246600" cy="50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3337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50"/>
              <a:buFont typeface="Noto Sans Symbols"/>
              <a:buChar char="▪"/>
              <a:defRPr sz="16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238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Calibri"/>
              <a:buChar char="–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1432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Calibri"/>
              <a:buChar char="–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Char char="–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Char char="–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indent="0" algn="ctr">
              <a:lnSpc>
                <a:spcPct val="100000"/>
              </a:lnSpc>
              <a:buSzPts val="1800"/>
              <a:buFont typeface="Noto Sans Symbols"/>
              <a:buNone/>
            </a:pPr>
            <a:r>
              <a:rPr lang="de-DE" b="1">
                <a:latin typeface="Titillium Web"/>
                <a:ea typeface="Titillium Web"/>
                <a:cs typeface="Titillium Web"/>
                <a:sym typeface="Titillium Web"/>
              </a:rPr>
              <a:t>Priorities (short term)</a:t>
            </a:r>
            <a:endParaRPr lang="de-DE" b="1" dirty="0"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21" name="Google Shape;524;g21570a8a96d_0_615">
            <a:extLst>
              <a:ext uri="{FF2B5EF4-FFF2-40B4-BE49-F238E27FC236}">
                <a16:creationId xmlns:a16="http://schemas.microsoft.com/office/drawing/2014/main" id="{9A22BCF8-CCD3-456E-A500-110189075B97}"/>
              </a:ext>
            </a:extLst>
          </p:cNvPr>
          <p:cNvSpPr txBox="1">
            <a:spLocks/>
          </p:cNvSpPr>
          <p:nvPr/>
        </p:nvSpPr>
        <p:spPr>
          <a:xfrm>
            <a:off x="4765613" y="1242850"/>
            <a:ext cx="3246600" cy="50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3337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50"/>
              <a:buFont typeface="Noto Sans Symbols"/>
              <a:buChar char="▪"/>
              <a:defRPr sz="16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238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Calibri"/>
              <a:buChar char="–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1432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Calibri"/>
              <a:buChar char="–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Char char="–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Char char="–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indent="0" algn="ctr">
              <a:lnSpc>
                <a:spcPct val="100000"/>
              </a:lnSpc>
              <a:buSzPts val="1800"/>
              <a:buFont typeface="Noto Sans Symbols"/>
              <a:buNone/>
            </a:pPr>
            <a:r>
              <a:rPr lang="de-DE" b="1">
                <a:latin typeface="Titillium Web"/>
                <a:ea typeface="Titillium Web"/>
                <a:cs typeface="Titillium Web"/>
                <a:sym typeface="Titillium Web"/>
              </a:rPr>
              <a:t>Goals (long term)</a:t>
            </a:r>
            <a:endParaRPr lang="de-DE" b="1" dirty="0">
              <a:latin typeface="Titillium Web"/>
              <a:ea typeface="Titillium Web"/>
              <a:cs typeface="Titillium Web"/>
              <a:sym typeface="Titillium Web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FD92E20-54EE-4464-8187-B753C7E7AC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3510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4" imgH="405" progId="TCLayout.ActiveDocument.1">
                  <p:embed/>
                </p:oleObj>
              </mc:Choice>
              <mc:Fallback>
                <p:oleObj name="think-cell Folie" r:id="rId4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D92E20-54EE-4464-8187-B753C7E7AC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8" name="Google Shape;548;g21570a8a96d_0_586"/>
          <p:cNvSpPr/>
          <p:nvPr/>
        </p:nvSpPr>
        <p:spPr>
          <a:xfrm>
            <a:off x="3262925" y="4027850"/>
            <a:ext cx="2618100" cy="638100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49" name="Google Shape;549;g21570a8a96d_0_586"/>
          <p:cNvSpPr txBox="1"/>
          <p:nvPr/>
        </p:nvSpPr>
        <p:spPr>
          <a:xfrm>
            <a:off x="4108662" y="4351550"/>
            <a:ext cx="926700" cy="3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" sz="14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rPr>
              <a:t>Month 2</a:t>
            </a:r>
            <a:endParaRPr sz="1400" b="1" i="0" u="none" strike="noStrike" cap="none">
              <a:solidFill>
                <a:schemeClr val="dk1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550" name="Google Shape;550;g21570a8a96d_0_586"/>
          <p:cNvSpPr/>
          <p:nvPr/>
        </p:nvSpPr>
        <p:spPr>
          <a:xfrm>
            <a:off x="6110908" y="452003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 extrusionOk="0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6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1" name="Google Shape;551;g21570a8a96d_0_586"/>
          <p:cNvSpPr/>
          <p:nvPr/>
        </p:nvSpPr>
        <p:spPr>
          <a:xfrm>
            <a:off x="514350" y="4520035"/>
            <a:ext cx="1128776" cy="475804"/>
          </a:xfrm>
          <a:custGeom>
            <a:avLst/>
            <a:gdLst/>
            <a:ahLst/>
            <a:cxnLst/>
            <a:rect l="l" t="t" r="r" b="b"/>
            <a:pathLst>
              <a:path w="2257552" h="951609" extrusionOk="0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7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552" name="Google Shape;552;g21570a8a96d_0_586"/>
          <p:cNvGrpSpPr/>
          <p:nvPr/>
        </p:nvGrpSpPr>
        <p:grpSpPr>
          <a:xfrm>
            <a:off x="1750888" y="1607347"/>
            <a:ext cx="2390463" cy="2420487"/>
            <a:chOff x="10299" y="6866"/>
            <a:chExt cx="2327617" cy="2357082"/>
          </a:xfrm>
        </p:grpSpPr>
        <p:grpSp>
          <p:nvGrpSpPr>
            <p:cNvPr id="553" name="Google Shape;553;g21570a8a96d_0_586"/>
            <p:cNvGrpSpPr/>
            <p:nvPr/>
          </p:nvGrpSpPr>
          <p:grpSpPr>
            <a:xfrm>
              <a:off x="10299" y="6866"/>
              <a:ext cx="2327617" cy="2357082"/>
              <a:chOff x="15240" y="10160"/>
              <a:chExt cx="3444240" cy="3487839"/>
            </a:xfrm>
          </p:grpSpPr>
          <p:sp>
            <p:nvSpPr>
              <p:cNvPr id="554" name="Google Shape;554;g21570a8a96d_0_586"/>
              <p:cNvSpPr/>
              <p:nvPr/>
            </p:nvSpPr>
            <p:spPr>
              <a:xfrm>
                <a:off x="15240" y="248920"/>
                <a:ext cx="3444240" cy="3249079"/>
              </a:xfrm>
              <a:custGeom>
                <a:avLst/>
                <a:gdLst/>
                <a:ahLst/>
                <a:cxnLst/>
                <a:rect l="l" t="t" r="r" b="b"/>
                <a:pathLst>
                  <a:path w="3444240" h="3249079" extrusionOk="0">
                    <a:moveTo>
                      <a:pt x="3441700" y="645160"/>
                    </a:moveTo>
                    <a:cubicBezTo>
                      <a:pt x="3444240" y="488950"/>
                      <a:pt x="3422650" y="30480"/>
                      <a:pt x="3422650" y="30480"/>
                    </a:cubicBezTo>
                    <a:cubicBezTo>
                      <a:pt x="3422650" y="30480"/>
                      <a:pt x="3037840" y="40640"/>
                      <a:pt x="2684780" y="40640"/>
                    </a:cubicBezTo>
                    <a:cubicBezTo>
                      <a:pt x="2653030" y="40640"/>
                      <a:pt x="2401570" y="40640"/>
                      <a:pt x="2341880" y="40640"/>
                    </a:cubicBezTo>
                    <a:cubicBezTo>
                      <a:pt x="1906270" y="40640"/>
                      <a:pt x="1042670" y="38100"/>
                      <a:pt x="795020" y="33020"/>
                    </a:cubicBezTo>
                    <a:cubicBezTo>
                      <a:pt x="482600" y="20320"/>
                      <a:pt x="11430" y="0"/>
                      <a:pt x="10160" y="29210"/>
                    </a:cubicBezTo>
                    <a:cubicBezTo>
                      <a:pt x="8890" y="58420"/>
                      <a:pt x="21590" y="440690"/>
                      <a:pt x="21590" y="440690"/>
                    </a:cubicBezTo>
                    <a:cubicBezTo>
                      <a:pt x="21590" y="440690"/>
                      <a:pt x="21590" y="2400719"/>
                      <a:pt x="21590" y="2592489"/>
                    </a:cubicBezTo>
                    <a:cubicBezTo>
                      <a:pt x="6350" y="2837599"/>
                      <a:pt x="0" y="3210979"/>
                      <a:pt x="0" y="3210979"/>
                    </a:cubicBezTo>
                    <a:cubicBezTo>
                      <a:pt x="204470" y="3241459"/>
                      <a:pt x="450850" y="3249079"/>
                      <a:pt x="657860" y="3246539"/>
                    </a:cubicBezTo>
                    <a:cubicBezTo>
                      <a:pt x="891540" y="3246539"/>
                      <a:pt x="2616200" y="3246539"/>
                      <a:pt x="2616200" y="3246539"/>
                    </a:cubicBezTo>
                    <a:lnTo>
                      <a:pt x="3402330" y="3232569"/>
                    </a:lnTo>
                    <a:cubicBezTo>
                      <a:pt x="3402330" y="3232569"/>
                      <a:pt x="3441700" y="2530259"/>
                      <a:pt x="3441700" y="2404529"/>
                    </a:cubicBezTo>
                    <a:cubicBezTo>
                      <a:pt x="3441700" y="2230539"/>
                      <a:pt x="3439160" y="803910"/>
                      <a:pt x="3441700" y="645160"/>
                    </a:cubicBezTo>
                    <a:close/>
                  </a:path>
                </a:pathLst>
              </a:custGeom>
              <a:solidFill>
                <a:srgbClr val="CAC0F6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5" name="Google Shape;555;g21570a8a96d_0_586"/>
              <p:cNvSpPr/>
              <p:nvPr/>
            </p:nvSpPr>
            <p:spPr>
              <a:xfrm>
                <a:off x="469900" y="10160"/>
                <a:ext cx="1583690" cy="554990"/>
              </a:xfrm>
              <a:custGeom>
                <a:avLst/>
                <a:gdLst/>
                <a:ahLst/>
                <a:cxnLst/>
                <a:rect l="l" t="t" r="r" b="b"/>
                <a:pathLst>
                  <a:path w="1583690" h="554990" extrusionOk="0">
                    <a:moveTo>
                      <a:pt x="27940" y="0"/>
                    </a:moveTo>
                    <a:cubicBezTo>
                      <a:pt x="27940" y="0"/>
                      <a:pt x="990600" y="95250"/>
                      <a:pt x="1109980" y="97790"/>
                    </a:cubicBezTo>
                    <a:lnTo>
                      <a:pt x="1558290" y="106680"/>
                    </a:lnTo>
                    <a:lnTo>
                      <a:pt x="1557020" y="199390"/>
                    </a:lnTo>
                    <a:cubicBezTo>
                      <a:pt x="1557020" y="199390"/>
                      <a:pt x="1583690" y="342900"/>
                      <a:pt x="1582420" y="402590"/>
                    </a:cubicBezTo>
                    <a:lnTo>
                      <a:pt x="1579880" y="554990"/>
                    </a:lnTo>
                    <a:cubicBezTo>
                      <a:pt x="1579880" y="554990"/>
                      <a:pt x="975360" y="504190"/>
                      <a:pt x="825500" y="497840"/>
                    </a:cubicBezTo>
                    <a:cubicBezTo>
                      <a:pt x="511810" y="482600"/>
                      <a:pt x="11430" y="414020"/>
                      <a:pt x="11430" y="414020"/>
                    </a:cubicBezTo>
                    <a:lnTo>
                      <a:pt x="0" y="261620"/>
                    </a:lnTo>
                    <a:lnTo>
                      <a:pt x="48260" y="135890"/>
                    </a:lnTo>
                    <a:lnTo>
                      <a:pt x="2794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556" name="Google Shape;556;g21570a8a96d_0_586"/>
            <p:cNvSpPr txBox="1"/>
            <p:nvPr/>
          </p:nvSpPr>
          <p:spPr>
            <a:xfrm>
              <a:off x="252418" y="817299"/>
              <a:ext cx="1841700" cy="741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457200" lvl="0" indent="-32385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500"/>
                <a:buFont typeface="Titillium Web"/>
                <a:buChar char="●"/>
              </a:pPr>
              <a:r>
                <a:rPr lang="en" sz="1650">
                  <a:solidFill>
                    <a:schemeClr val="dk1"/>
                  </a:solidFill>
                  <a:latin typeface="Titillium Web"/>
                  <a:ea typeface="Titillium Web"/>
                  <a:cs typeface="Titillium Web"/>
                  <a:sym typeface="Titillium Web"/>
                </a:rPr>
                <a:t>First priority</a:t>
              </a:r>
              <a:endParaRPr sz="165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endParaRPr>
            </a:p>
            <a:p>
              <a:pPr marL="457200" lvl="0" indent="-32385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500"/>
                <a:buFont typeface="Titillium Web"/>
                <a:buChar char="●"/>
              </a:pPr>
              <a:r>
                <a:rPr lang="en" sz="1650">
                  <a:solidFill>
                    <a:schemeClr val="dk1"/>
                  </a:solidFill>
                  <a:latin typeface="Titillium Web"/>
                  <a:ea typeface="Titillium Web"/>
                  <a:cs typeface="Titillium Web"/>
                  <a:sym typeface="Titillium Web"/>
                </a:rPr>
                <a:t>Second priority</a:t>
              </a:r>
              <a:endParaRPr sz="165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endParaRPr>
            </a:p>
            <a:p>
              <a:pPr marL="457200" lvl="0" indent="-32385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500"/>
                <a:buFont typeface="Titillium Web"/>
                <a:buChar char="●"/>
              </a:pPr>
              <a:r>
                <a:rPr lang="en" sz="1650">
                  <a:solidFill>
                    <a:schemeClr val="dk1"/>
                  </a:solidFill>
                  <a:latin typeface="Titillium Web"/>
                  <a:ea typeface="Titillium Web"/>
                  <a:cs typeface="Titillium Web"/>
                  <a:sym typeface="Titillium Web"/>
                </a:rPr>
                <a:t>NNN priority</a:t>
              </a:r>
              <a:endParaRPr/>
            </a:p>
          </p:txBody>
        </p:sp>
      </p:grpSp>
      <p:grpSp>
        <p:nvGrpSpPr>
          <p:cNvPr id="557" name="Google Shape;557;g21570a8a96d_0_586"/>
          <p:cNvGrpSpPr/>
          <p:nvPr/>
        </p:nvGrpSpPr>
        <p:grpSpPr>
          <a:xfrm>
            <a:off x="5260723" y="1698400"/>
            <a:ext cx="2348209" cy="2329446"/>
            <a:chOff x="0" y="0"/>
            <a:chExt cx="2387604" cy="2368526"/>
          </a:xfrm>
        </p:grpSpPr>
        <p:grpSp>
          <p:nvGrpSpPr>
            <p:cNvPr id="558" name="Google Shape;558;g21570a8a96d_0_586"/>
            <p:cNvGrpSpPr/>
            <p:nvPr/>
          </p:nvGrpSpPr>
          <p:grpSpPr>
            <a:xfrm>
              <a:off x="0" y="0"/>
              <a:ext cx="2387604" cy="2368526"/>
              <a:chOff x="0" y="0"/>
              <a:chExt cx="3178810" cy="3153410"/>
            </a:xfrm>
          </p:grpSpPr>
          <p:sp>
            <p:nvSpPr>
              <p:cNvPr id="559" name="Google Shape;559;g21570a8a96d_0_586"/>
              <p:cNvSpPr/>
              <p:nvPr/>
            </p:nvSpPr>
            <p:spPr>
              <a:xfrm>
                <a:off x="0" y="218440"/>
                <a:ext cx="3178810" cy="2934970"/>
              </a:xfrm>
              <a:custGeom>
                <a:avLst/>
                <a:gdLst/>
                <a:ahLst/>
                <a:cxnLst/>
                <a:rect l="l" t="t" r="r" b="b"/>
                <a:pathLst>
                  <a:path w="3178810" h="2934970" extrusionOk="0">
                    <a:moveTo>
                      <a:pt x="0" y="16510"/>
                    </a:moveTo>
                    <a:cubicBezTo>
                      <a:pt x="0" y="16510"/>
                      <a:pt x="2540" y="345440"/>
                      <a:pt x="2540" y="754380"/>
                    </a:cubicBezTo>
                    <a:cubicBezTo>
                      <a:pt x="2540" y="1163320"/>
                      <a:pt x="7620" y="1753870"/>
                      <a:pt x="7620" y="2014220"/>
                    </a:cubicBezTo>
                    <a:cubicBezTo>
                      <a:pt x="7620" y="2208530"/>
                      <a:pt x="16510" y="2607310"/>
                      <a:pt x="21590" y="2799080"/>
                    </a:cubicBezTo>
                    <a:lnTo>
                      <a:pt x="130810" y="2913380"/>
                    </a:lnTo>
                    <a:cubicBezTo>
                      <a:pt x="275590" y="2921000"/>
                      <a:pt x="543560" y="2934970"/>
                      <a:pt x="793750" y="2934970"/>
                    </a:cubicBezTo>
                    <a:lnTo>
                      <a:pt x="3178810" y="2934970"/>
                    </a:lnTo>
                    <a:lnTo>
                      <a:pt x="3178810" y="698500"/>
                    </a:lnTo>
                    <a:cubicBezTo>
                      <a:pt x="3178810" y="323850"/>
                      <a:pt x="3169920" y="46990"/>
                      <a:pt x="3169920" y="46990"/>
                    </a:cubicBezTo>
                    <a:cubicBezTo>
                      <a:pt x="3014980" y="26670"/>
                      <a:pt x="2858770" y="16510"/>
                      <a:pt x="2701290" y="17780"/>
                    </a:cubicBezTo>
                    <a:cubicBezTo>
                      <a:pt x="2428240" y="17780"/>
                      <a:pt x="944880" y="22860"/>
                      <a:pt x="694690" y="13970"/>
                    </a:cubicBezTo>
                    <a:cubicBezTo>
                      <a:pt x="360680" y="0"/>
                      <a:pt x="0" y="16510"/>
                      <a:pt x="0" y="16510"/>
                    </a:cubicBezTo>
                    <a:close/>
                  </a:path>
                </a:pathLst>
              </a:custGeom>
              <a:solidFill>
                <a:srgbClr val="64519F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0" name="Google Shape;560;g21570a8a96d_0_586"/>
              <p:cNvSpPr/>
              <p:nvPr/>
            </p:nvSpPr>
            <p:spPr>
              <a:xfrm>
                <a:off x="21590" y="0"/>
                <a:ext cx="2689860" cy="3133090"/>
              </a:xfrm>
              <a:custGeom>
                <a:avLst/>
                <a:gdLst/>
                <a:ahLst/>
                <a:cxnLst/>
                <a:rect l="l" t="t" r="r" b="b"/>
                <a:pathLst>
                  <a:path w="2689860" h="3133090" extrusionOk="0">
                    <a:moveTo>
                      <a:pt x="0" y="3018790"/>
                    </a:moveTo>
                    <a:lnTo>
                      <a:pt x="109220" y="3133090"/>
                    </a:lnTo>
                    <a:lnTo>
                      <a:pt x="123190" y="2999740"/>
                    </a:lnTo>
                    <a:lnTo>
                      <a:pt x="0" y="3018790"/>
                    </a:lnTo>
                    <a:close/>
                    <a:moveTo>
                      <a:pt x="1490980" y="106680"/>
                    </a:moveTo>
                    <a:cubicBezTo>
                      <a:pt x="1490980" y="106680"/>
                      <a:pt x="1908810" y="64770"/>
                      <a:pt x="2045970" y="55880"/>
                    </a:cubicBezTo>
                    <a:cubicBezTo>
                      <a:pt x="2183130" y="46990"/>
                      <a:pt x="2663190" y="0"/>
                      <a:pt x="2663190" y="0"/>
                    </a:cubicBezTo>
                    <a:cubicBezTo>
                      <a:pt x="2656840" y="41910"/>
                      <a:pt x="2655570" y="86360"/>
                      <a:pt x="2660650" y="128270"/>
                    </a:cubicBezTo>
                    <a:cubicBezTo>
                      <a:pt x="2667000" y="167640"/>
                      <a:pt x="2669540" y="208280"/>
                      <a:pt x="2668270" y="248920"/>
                    </a:cubicBezTo>
                    <a:lnTo>
                      <a:pt x="2689860" y="318770"/>
                    </a:lnTo>
                    <a:lnTo>
                      <a:pt x="2679700" y="419100"/>
                    </a:lnTo>
                    <a:cubicBezTo>
                      <a:pt x="2679700" y="419100"/>
                      <a:pt x="1929130" y="454660"/>
                      <a:pt x="1791970" y="471170"/>
                    </a:cubicBezTo>
                    <a:cubicBezTo>
                      <a:pt x="1654810" y="487680"/>
                      <a:pt x="1450340" y="486410"/>
                      <a:pt x="1450340" y="486410"/>
                    </a:cubicBezTo>
                    <a:cubicBezTo>
                      <a:pt x="1450340" y="486410"/>
                      <a:pt x="1442720" y="365760"/>
                      <a:pt x="1455420" y="322580"/>
                    </a:cubicBezTo>
                    <a:cubicBezTo>
                      <a:pt x="1465580" y="288290"/>
                      <a:pt x="1469390" y="251460"/>
                      <a:pt x="1464310" y="214630"/>
                    </a:cubicBezTo>
                    <a:cubicBezTo>
                      <a:pt x="1464310" y="186690"/>
                      <a:pt x="1490980" y="106680"/>
                      <a:pt x="1490980" y="10668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561" name="Google Shape;561;g21570a8a96d_0_586"/>
            <p:cNvSpPr txBox="1"/>
            <p:nvPr/>
          </p:nvSpPr>
          <p:spPr>
            <a:xfrm>
              <a:off x="273446" y="867958"/>
              <a:ext cx="1841700" cy="1356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457200" lvl="0" indent="-323850" algn="l" rtl="0"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500"/>
                <a:buFont typeface="Titillium Web"/>
                <a:buChar char="●"/>
              </a:pPr>
              <a:r>
                <a:rPr lang="en" sz="1650">
                  <a:solidFill>
                    <a:schemeClr val="lt1"/>
                  </a:solidFill>
                  <a:latin typeface="Titillium Web"/>
                  <a:ea typeface="Titillium Web"/>
                  <a:cs typeface="Titillium Web"/>
                  <a:sym typeface="Titillium Web"/>
                </a:rPr>
                <a:t>Goal 1</a:t>
              </a:r>
              <a:endParaRPr sz="1650"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endParaRPr>
            </a:p>
            <a:p>
              <a:pPr marL="457200" lvl="0" indent="-323850" algn="l" rtl="0"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500"/>
                <a:buFont typeface="Titillium Web"/>
                <a:buChar char="●"/>
              </a:pPr>
              <a:r>
                <a:rPr lang="en" sz="1650">
                  <a:solidFill>
                    <a:schemeClr val="lt1"/>
                  </a:solidFill>
                  <a:latin typeface="Titillium Web"/>
                  <a:ea typeface="Titillium Web"/>
                  <a:cs typeface="Titillium Web"/>
                  <a:sym typeface="Titillium Web"/>
                </a:rPr>
                <a:t>Goal 2</a:t>
              </a:r>
              <a:endParaRPr sz="1650"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endParaRPr>
            </a:p>
            <a:p>
              <a:pPr marL="457200" lvl="0" indent="-323850" algn="l" rtl="0"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500"/>
                <a:buFont typeface="Titillium Web"/>
                <a:buChar char="●"/>
              </a:pPr>
              <a:r>
                <a:rPr lang="en" sz="1650">
                  <a:solidFill>
                    <a:schemeClr val="lt1"/>
                  </a:solidFill>
                  <a:latin typeface="Titillium Web"/>
                  <a:ea typeface="Titillium Web"/>
                  <a:cs typeface="Titillium Web"/>
                  <a:sym typeface="Titillium Web"/>
                </a:rPr>
                <a:t>Goal 3</a:t>
              </a:r>
              <a:endParaRPr sz="1650"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endParaRPr>
            </a:p>
            <a:p>
              <a:pPr marL="45720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500"/>
                <a:buFont typeface="Arial"/>
                <a:buNone/>
              </a:pPr>
              <a:endParaRPr sz="165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endParaRPr>
            </a:p>
            <a:p>
              <a:pPr marL="0" marR="0" lvl="0" indent="0" algn="ctr" rtl="0">
                <a:lnSpc>
                  <a:spcPct val="140019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064">
                <a:solidFill>
                  <a:srgbClr val="FFFFFF"/>
                </a:solidFill>
                <a:latin typeface="DM Sans"/>
                <a:ea typeface="DM Sans"/>
                <a:cs typeface="DM Sans"/>
                <a:sym typeface="DM Sans"/>
              </a:endParaRPr>
            </a:p>
          </p:txBody>
        </p:sp>
      </p:grpSp>
      <p:sp>
        <p:nvSpPr>
          <p:cNvPr id="562" name="Google Shape;562;g21570a8a96d_0_586"/>
          <p:cNvSpPr txBox="1">
            <a:spLocks noGrp="1"/>
          </p:cNvSpPr>
          <p:nvPr>
            <p:ph type="title"/>
          </p:nvPr>
        </p:nvSpPr>
        <p:spPr>
          <a:xfrm>
            <a:off x="713225" y="414258"/>
            <a:ext cx="77175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</a:pPr>
            <a:r>
              <a:rPr lang="en" b="1" dirty="0">
                <a:solidFill>
                  <a:srgbClr val="64519F"/>
                </a:solidFill>
                <a:latin typeface="Titillium Web"/>
                <a:ea typeface="Titillium Web"/>
                <a:cs typeface="Titillium Web"/>
                <a:sym typeface="Titillium Web"/>
              </a:rPr>
              <a:t>Plan for the Exploration </a:t>
            </a:r>
            <a:r>
              <a:rPr lang="en" b="1">
                <a:solidFill>
                  <a:srgbClr val="64519F"/>
                </a:solidFill>
                <a:latin typeface="Titillium Web"/>
                <a:ea typeface="Titillium Web"/>
                <a:cs typeface="Titillium Web"/>
                <a:sym typeface="Titillium Web"/>
              </a:rPr>
              <a:t>phase - Example </a:t>
            </a:r>
            <a:endParaRPr b="1" dirty="0">
              <a:solidFill>
                <a:srgbClr val="64519F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20" name="Google Shape;523;g21570a8a96d_0_615">
            <a:extLst>
              <a:ext uri="{FF2B5EF4-FFF2-40B4-BE49-F238E27FC236}">
                <a16:creationId xmlns:a16="http://schemas.microsoft.com/office/drawing/2014/main" id="{E9646172-A56D-4043-8229-D3740536F4D5}"/>
              </a:ext>
            </a:extLst>
          </p:cNvPr>
          <p:cNvSpPr txBox="1">
            <a:spLocks/>
          </p:cNvSpPr>
          <p:nvPr/>
        </p:nvSpPr>
        <p:spPr>
          <a:xfrm>
            <a:off x="1131725" y="1189888"/>
            <a:ext cx="3246600" cy="50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3337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50"/>
              <a:buFont typeface="Noto Sans Symbols"/>
              <a:buChar char="▪"/>
              <a:defRPr sz="16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238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Calibri"/>
              <a:buChar char="–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1432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Calibri"/>
              <a:buChar char="–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Char char="–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Char char="–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indent="0" algn="ctr">
              <a:lnSpc>
                <a:spcPct val="100000"/>
              </a:lnSpc>
              <a:buSzPts val="1800"/>
              <a:buFont typeface="Noto Sans Symbols"/>
              <a:buNone/>
            </a:pPr>
            <a:r>
              <a:rPr lang="de-DE" b="1">
                <a:latin typeface="Titillium Web"/>
                <a:ea typeface="Titillium Web"/>
                <a:cs typeface="Titillium Web"/>
                <a:sym typeface="Titillium Web"/>
              </a:rPr>
              <a:t>Priorities (short term)</a:t>
            </a:r>
            <a:endParaRPr lang="de-DE" b="1" dirty="0"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21" name="Google Shape;524;g21570a8a96d_0_615">
            <a:extLst>
              <a:ext uri="{FF2B5EF4-FFF2-40B4-BE49-F238E27FC236}">
                <a16:creationId xmlns:a16="http://schemas.microsoft.com/office/drawing/2014/main" id="{9A22BCF8-CCD3-456E-A500-110189075B97}"/>
              </a:ext>
            </a:extLst>
          </p:cNvPr>
          <p:cNvSpPr txBox="1">
            <a:spLocks/>
          </p:cNvSpPr>
          <p:nvPr/>
        </p:nvSpPr>
        <p:spPr>
          <a:xfrm>
            <a:off x="4765613" y="1242850"/>
            <a:ext cx="3246600" cy="50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3337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50"/>
              <a:buFont typeface="Noto Sans Symbols"/>
              <a:buChar char="▪"/>
              <a:defRPr sz="16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238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Calibri"/>
              <a:buChar char="–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1432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Calibri"/>
              <a:buChar char="–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Char char="–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Char char="–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indent="0" algn="ctr">
              <a:lnSpc>
                <a:spcPct val="100000"/>
              </a:lnSpc>
              <a:buSzPts val="1800"/>
              <a:buFont typeface="Noto Sans Symbols"/>
              <a:buNone/>
            </a:pPr>
            <a:r>
              <a:rPr lang="de-DE" b="1">
                <a:latin typeface="Titillium Web"/>
                <a:ea typeface="Titillium Web"/>
                <a:cs typeface="Titillium Web"/>
                <a:sym typeface="Titillium Web"/>
              </a:rPr>
              <a:t>Goals (long term)</a:t>
            </a:r>
            <a:endParaRPr lang="de-DE" b="1" dirty="0">
              <a:latin typeface="Titillium Web"/>
              <a:ea typeface="Titillium Web"/>
              <a:cs typeface="Titillium Web"/>
              <a:sym typeface="Titillium Web"/>
            </a:endParaRPr>
          </a:p>
        </p:txBody>
      </p:sp>
    </p:spTree>
    <p:extLst>
      <p:ext uri="{BB962C8B-B14F-4D97-AF65-F5344CB8AC3E}">
        <p14:creationId xmlns:p14="http://schemas.microsoft.com/office/powerpoint/2010/main" val="34528805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Google Shape;392;g21570a8a96d_0_0"/>
          <p:cNvSpPr/>
          <p:nvPr/>
        </p:nvSpPr>
        <p:spPr>
          <a:xfrm rot="10800000">
            <a:off x="7900890" y="3688232"/>
            <a:ext cx="1243110" cy="1455268"/>
          </a:xfrm>
          <a:custGeom>
            <a:avLst/>
            <a:gdLst/>
            <a:ahLst/>
            <a:cxnLst/>
            <a:rect l="l" t="t" r="r" b="b"/>
            <a:pathLst>
              <a:path w="2486220" h="2910535" extrusionOk="0">
                <a:moveTo>
                  <a:pt x="2486220" y="2910535"/>
                </a:moveTo>
                <a:lnTo>
                  <a:pt x="0" y="2910535"/>
                </a:lnTo>
                <a:lnTo>
                  <a:pt x="0" y="0"/>
                </a:lnTo>
                <a:lnTo>
                  <a:pt x="2486220" y="0"/>
                </a:lnTo>
                <a:lnTo>
                  <a:pt x="2486220" y="2910535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3" name="Google Shape;393;g21570a8a96d_0_0"/>
          <p:cNvSpPr/>
          <p:nvPr/>
        </p:nvSpPr>
        <p:spPr>
          <a:xfrm>
            <a:off x="514350" y="423625"/>
            <a:ext cx="1783405" cy="727232"/>
          </a:xfrm>
          <a:custGeom>
            <a:avLst/>
            <a:gdLst/>
            <a:ahLst/>
            <a:cxnLst/>
            <a:rect l="l" t="t" r="r" b="b"/>
            <a:pathLst>
              <a:path w="3876967" h="1634230" extrusionOk="0">
                <a:moveTo>
                  <a:pt x="0" y="0"/>
                </a:moveTo>
                <a:lnTo>
                  <a:pt x="3876967" y="0"/>
                </a:lnTo>
                <a:lnTo>
                  <a:pt x="3876967" y="1634230"/>
                </a:lnTo>
                <a:lnTo>
                  <a:pt x="0" y="1634230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4" name="Google Shape;394;g21570a8a96d_0_0"/>
          <p:cNvSpPr txBox="1"/>
          <p:nvPr/>
        </p:nvSpPr>
        <p:spPr>
          <a:xfrm>
            <a:off x="514350" y="1664100"/>
            <a:ext cx="6412800" cy="16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5200" b="1">
                <a:latin typeface="Titillium Web"/>
                <a:ea typeface="Titillium Web"/>
                <a:cs typeface="Titillium Web"/>
                <a:sym typeface="Titillium Web"/>
              </a:rPr>
              <a:t>Exploration phase proposal</a:t>
            </a:r>
            <a:endParaRPr sz="200"/>
          </a:p>
        </p:txBody>
      </p:sp>
      <p:sp>
        <p:nvSpPr>
          <p:cNvPr id="395" name="Google Shape;395;g21570a8a96d_0_0"/>
          <p:cNvSpPr txBox="1"/>
          <p:nvPr/>
        </p:nvSpPr>
        <p:spPr>
          <a:xfrm>
            <a:off x="514350" y="3365550"/>
            <a:ext cx="4377300" cy="169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</a:pPr>
            <a:r>
              <a:rPr lang="en" sz="1600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rPr>
              <a:t>Fill in this template with the required information to apply for the second phase of TeamUp 2024! </a:t>
            </a:r>
            <a:endParaRPr sz="1600">
              <a:solidFill>
                <a:schemeClr val="dk2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marR="0" lvl="0" indent="0" algn="l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500" b="1"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marR="0" lvl="0" indent="0" algn="l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500" b="1"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marR="0" lvl="0" indent="0" algn="l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500" b="1"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marR="0" lvl="0" indent="0" algn="l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500" b="1">
              <a:solidFill>
                <a:srgbClr val="000000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396" name="Google Shape;396;g21570a8a96d_0_0"/>
          <p:cNvSpPr txBox="1"/>
          <p:nvPr/>
        </p:nvSpPr>
        <p:spPr>
          <a:xfrm>
            <a:off x="514346" y="4394150"/>
            <a:ext cx="3142500" cy="2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b="1">
                <a:latin typeface="Titillium Web"/>
                <a:ea typeface="Titillium Web"/>
                <a:cs typeface="Titillium Web"/>
                <a:sym typeface="Titillium Web"/>
              </a:rPr>
              <a:t>Deadline: July 21st</a:t>
            </a:r>
            <a:r>
              <a:rPr lang="en" sz="1800" b="1">
                <a:solidFill>
                  <a:srgbClr val="000000"/>
                </a:solidFill>
                <a:latin typeface="Titillium Web"/>
                <a:ea typeface="Titillium Web"/>
                <a:cs typeface="Titillium Web"/>
                <a:sym typeface="Titillium Web"/>
              </a:rPr>
              <a:t>, 202</a:t>
            </a:r>
            <a:r>
              <a:rPr lang="en" sz="1800" b="1">
                <a:latin typeface="Titillium Web"/>
                <a:ea typeface="Titillium Web"/>
                <a:cs typeface="Titillium Web"/>
                <a:sym typeface="Titillium Web"/>
              </a:rPr>
              <a:t>4 (EOD)</a:t>
            </a:r>
            <a:endParaRPr sz="700"/>
          </a:p>
        </p:txBody>
      </p:sp>
      <p:sp>
        <p:nvSpPr>
          <p:cNvPr id="397" name="Google Shape;397;g21570a8a96d_0_0"/>
          <p:cNvSpPr/>
          <p:nvPr/>
        </p:nvSpPr>
        <p:spPr>
          <a:xfrm>
            <a:off x="4862814" y="514350"/>
            <a:ext cx="3766836" cy="635667"/>
          </a:xfrm>
          <a:custGeom>
            <a:avLst/>
            <a:gdLst/>
            <a:ahLst/>
            <a:cxnLst/>
            <a:rect l="l" t="t" r="r" b="b"/>
            <a:pathLst>
              <a:path w="7533672" h="1271333" extrusionOk="0">
                <a:moveTo>
                  <a:pt x="0" y="0"/>
                </a:moveTo>
                <a:lnTo>
                  <a:pt x="7533672" y="0"/>
                </a:lnTo>
                <a:lnTo>
                  <a:pt x="7533672" y="1271333"/>
                </a:lnTo>
                <a:lnTo>
                  <a:pt x="0" y="1271333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5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8" name="Google Shape;398;g21570a8a96d_0_0"/>
          <p:cNvSpPr/>
          <p:nvPr/>
        </p:nvSpPr>
        <p:spPr>
          <a:xfrm>
            <a:off x="5572159" y="2994402"/>
            <a:ext cx="2751156" cy="2045859"/>
          </a:xfrm>
          <a:custGeom>
            <a:avLst/>
            <a:gdLst/>
            <a:ahLst/>
            <a:cxnLst/>
            <a:rect l="l" t="t" r="r" b="b"/>
            <a:pathLst>
              <a:path w="4401849" h="3273375" extrusionOk="0">
                <a:moveTo>
                  <a:pt x="0" y="0"/>
                </a:moveTo>
                <a:lnTo>
                  <a:pt x="4401849" y="0"/>
                </a:lnTo>
                <a:lnTo>
                  <a:pt x="4401849" y="3273375"/>
                </a:lnTo>
                <a:lnTo>
                  <a:pt x="0" y="3273375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6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7" name="Google Shape;567;g21570a8a96d_2_0"/>
          <p:cNvSpPr/>
          <p:nvPr/>
        </p:nvSpPr>
        <p:spPr>
          <a:xfrm>
            <a:off x="6110908" y="453063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 extrusionOk="0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8" name="Google Shape;568;g21570a8a96d_2_0"/>
          <p:cNvSpPr/>
          <p:nvPr/>
        </p:nvSpPr>
        <p:spPr>
          <a:xfrm>
            <a:off x="514350" y="4530635"/>
            <a:ext cx="1128776" cy="475804"/>
          </a:xfrm>
          <a:custGeom>
            <a:avLst/>
            <a:gdLst/>
            <a:ahLst/>
            <a:cxnLst/>
            <a:rect l="l" t="t" r="r" b="b"/>
            <a:pathLst>
              <a:path w="2257552" h="951609" extrusionOk="0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9" name="Google Shape;569;g21570a8a96d_2_0"/>
          <p:cNvSpPr txBox="1"/>
          <p:nvPr/>
        </p:nvSpPr>
        <p:spPr>
          <a:xfrm>
            <a:off x="2473350" y="443975"/>
            <a:ext cx="4197300" cy="76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500"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How do you imagine your journey after TeamUp?</a:t>
            </a:r>
            <a:endParaRPr sz="2500" b="1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4" name="Google Shape;574;g21570a8a96d_0_502"/>
          <p:cNvSpPr/>
          <p:nvPr/>
        </p:nvSpPr>
        <p:spPr>
          <a:xfrm>
            <a:off x="4900199" y="1175843"/>
            <a:ext cx="2521498" cy="2021783"/>
          </a:xfrm>
          <a:custGeom>
            <a:avLst/>
            <a:gdLst/>
            <a:ahLst/>
            <a:cxnLst/>
            <a:rect l="l" t="t" r="r" b="b"/>
            <a:pathLst>
              <a:path w="3093863" h="2480715" extrusionOk="0">
                <a:moveTo>
                  <a:pt x="0" y="0"/>
                </a:moveTo>
                <a:lnTo>
                  <a:pt x="3093863" y="0"/>
                </a:lnTo>
                <a:lnTo>
                  <a:pt x="3093863" y="2480715"/>
                </a:lnTo>
                <a:lnTo>
                  <a:pt x="0" y="2480715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5" name="Google Shape;575;g21570a8a96d_0_502"/>
          <p:cNvSpPr/>
          <p:nvPr/>
        </p:nvSpPr>
        <p:spPr>
          <a:xfrm>
            <a:off x="6110908" y="452003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 extrusionOk="0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6" name="Google Shape;576;g21570a8a96d_0_502"/>
          <p:cNvSpPr/>
          <p:nvPr/>
        </p:nvSpPr>
        <p:spPr>
          <a:xfrm>
            <a:off x="514350" y="4520035"/>
            <a:ext cx="1128776" cy="475804"/>
          </a:xfrm>
          <a:custGeom>
            <a:avLst/>
            <a:gdLst/>
            <a:ahLst/>
            <a:cxnLst/>
            <a:rect l="l" t="t" r="r" b="b"/>
            <a:pathLst>
              <a:path w="2257552" h="951609" extrusionOk="0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5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7" name="Google Shape;577;g21570a8a96d_0_502"/>
          <p:cNvSpPr txBox="1"/>
          <p:nvPr/>
        </p:nvSpPr>
        <p:spPr>
          <a:xfrm>
            <a:off x="1540875" y="2300475"/>
            <a:ext cx="3106200" cy="11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1300"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Make sure your Proposal is uploaded </a:t>
            </a:r>
            <a:endParaRPr sz="1300" b="1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1300" b="1" u="sng">
                <a:solidFill>
                  <a:srgbClr val="64519F"/>
                </a:solidFill>
                <a:latin typeface="Titillium Web"/>
                <a:ea typeface="Titillium Web"/>
                <a:cs typeface="Titillium Web"/>
                <a:sym typeface="Titillium Web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RE</a:t>
            </a:r>
            <a:r>
              <a:rPr lang="en" sz="1300"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 before the deadline</a:t>
            </a:r>
            <a:endParaRPr sz="1000" b="1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marR="0" lvl="0" indent="0" algn="l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500" b="1"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marR="0" lvl="0" indent="0" algn="l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500" b="1">
              <a:solidFill>
                <a:srgbClr val="000000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578" name="Google Shape;578;g21570a8a96d_0_502"/>
          <p:cNvSpPr txBox="1"/>
          <p:nvPr/>
        </p:nvSpPr>
        <p:spPr>
          <a:xfrm>
            <a:off x="1540875" y="1451975"/>
            <a:ext cx="6412800" cy="8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5200" b="1">
                <a:latin typeface="Titillium Web"/>
                <a:ea typeface="Titillium Web"/>
                <a:cs typeface="Titillium Web"/>
                <a:sym typeface="Titillium Web"/>
              </a:rPr>
              <a:t>Thanks!</a:t>
            </a:r>
            <a:endParaRPr sz="200"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3" name="Google Shape;583;g21570a8a96d_0_567"/>
          <p:cNvGraphicFramePr/>
          <p:nvPr/>
        </p:nvGraphicFramePr>
        <p:xfrm>
          <a:off x="713238" y="1116063"/>
          <a:ext cx="7717500" cy="2458284"/>
        </p:xfrm>
        <a:graphic>
          <a:graphicData uri="http://schemas.openxmlformats.org/drawingml/2006/table">
            <a:tbl>
              <a:tblPr>
                <a:noFill/>
                <a:tableStyleId>{0DE47254-3843-421C-BF16-E2A66E1F5CE1}</a:tableStyleId>
              </a:tblPr>
              <a:tblGrid>
                <a:gridCol w="43747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428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63500" marR="6350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100"/>
                        <a:buFont typeface="Arial"/>
                        <a:buNone/>
                      </a:pPr>
                      <a:r>
                        <a:rPr lang="en" sz="1200" b="1" u="none" strike="noStrike" cap="none"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Criteria</a:t>
                      </a:r>
                      <a:r>
                        <a:rPr lang="en" sz="1200" u="none" strike="noStrike" cap="none"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 </a:t>
                      </a:r>
                      <a:endParaRPr sz="1200" u="none" strike="noStrike" cap="none">
                        <a:latin typeface="Titillium Web"/>
                        <a:ea typeface="Titillium Web"/>
                        <a:cs typeface="Titillium Web"/>
                        <a:sym typeface="Titillium Web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100"/>
                        <a:buFont typeface="Arial"/>
                        <a:buNone/>
                      </a:pPr>
                      <a:r>
                        <a:rPr lang="en" sz="1200" b="1" u="none" strike="noStrike" cap="none"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Part of the presentation evaluated</a:t>
                      </a:r>
                      <a:r>
                        <a:rPr lang="en" sz="1200" u="none" strike="noStrike" cap="none"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 </a:t>
                      </a:r>
                      <a:endParaRPr sz="1200" u="none" strike="noStrike" cap="none">
                        <a:latin typeface="Titillium Web"/>
                        <a:ea typeface="Titillium Web"/>
                        <a:cs typeface="Titillium Web"/>
                        <a:sym typeface="Titillium Web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76275">
                <a:tc>
                  <a:txBody>
                    <a:bodyPr/>
                    <a:lstStyle/>
                    <a:p>
                      <a:pPr marL="749300" marR="63500" lvl="0" indent="-29845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100"/>
                        <a:buFont typeface="Titillium Web"/>
                        <a:buAutoNum type="arabicPeriod"/>
                      </a:pPr>
                      <a:r>
                        <a:rPr lang="en" sz="1100" u="none" strike="noStrike" cap="none"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The product/solution the team presents is innovative, scalable and has the potential to transform Europe’s food system and deliver social, environmental and economic impact. </a:t>
                      </a:r>
                      <a:endParaRPr sz="1100" u="none" strike="noStrike" cap="none">
                        <a:latin typeface="Titillium Web"/>
                        <a:ea typeface="Titillium Web"/>
                        <a:cs typeface="Titillium Web"/>
                        <a:sym typeface="Titillium Web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100" u="none" strike="noStrike" cap="none">
                        <a:latin typeface="Titillium Web"/>
                        <a:ea typeface="Titillium Web"/>
                        <a:cs typeface="Titillium Web"/>
                        <a:sym typeface="Titillium Web"/>
                      </a:endParaRPr>
                    </a:p>
                    <a:p>
                      <a:pPr marL="63500" marR="6350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" sz="1100" u="none" strike="noStrike" cap="none"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Project resume </a:t>
                      </a:r>
                      <a:endParaRPr sz="1100" u="none" strike="noStrike" cap="none">
                        <a:latin typeface="Titillium Web"/>
                        <a:ea typeface="Titillium Web"/>
                        <a:cs typeface="Titillium Web"/>
                        <a:sym typeface="Titillium Web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4350">
                <a:tc>
                  <a:txBody>
                    <a:bodyPr/>
                    <a:lstStyle/>
                    <a:p>
                      <a:pPr marL="749300" marR="63500" lvl="0" indent="-29845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100"/>
                        <a:buFont typeface="Titillium Web"/>
                        <a:buAutoNum type="arabicPeriod" startAt="2"/>
                      </a:pPr>
                      <a:r>
                        <a:rPr lang="en" sz="1100" u="none" strike="noStrike" cap="none"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The co-founders have complementary skills and experience and have the potential to form a strong team. </a:t>
                      </a:r>
                      <a:endParaRPr sz="1100" u="none" strike="noStrike" cap="none">
                        <a:latin typeface="Titillium Web"/>
                        <a:ea typeface="Titillium Web"/>
                        <a:cs typeface="Titillium Web"/>
                        <a:sym typeface="Titillium Web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" sz="1100" u="none" strike="noStrike" cap="none"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Team </a:t>
                      </a:r>
                      <a:endParaRPr sz="1100" u="none" strike="noStrike" cap="none">
                        <a:latin typeface="Titillium Web"/>
                        <a:ea typeface="Titillium Web"/>
                        <a:cs typeface="Titillium Web"/>
                        <a:sym typeface="Titillium Web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marL="749300" marR="63500" lvl="0" indent="-29845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100"/>
                        <a:buFont typeface="Titillium Web"/>
                        <a:buAutoNum type="arabicPeriod" startAt="3"/>
                      </a:pPr>
                      <a:r>
                        <a:rPr lang="en" sz="1100" u="none" strike="noStrike" cap="none"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The team has a clear, feasible and ambitious plan for the Exploration phase. </a:t>
                      </a:r>
                      <a:endParaRPr sz="1100" u="none" strike="noStrike" cap="none">
                        <a:latin typeface="Titillium Web"/>
                        <a:ea typeface="Titillium Web"/>
                        <a:cs typeface="Titillium Web"/>
                        <a:sym typeface="Titillium Web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" sz="1100" u="none" strike="noStrike" cap="none">
                          <a:latin typeface="Titillium Web"/>
                          <a:ea typeface="Titillium Web"/>
                          <a:cs typeface="Titillium Web"/>
                          <a:sym typeface="Titillium Web"/>
                        </a:rPr>
                        <a:t>Plan for the Exploration phase </a:t>
                      </a:r>
                      <a:endParaRPr sz="1100" u="none" strike="noStrike" cap="none">
                        <a:latin typeface="Titillium Web"/>
                        <a:ea typeface="Titillium Web"/>
                        <a:cs typeface="Titillium Web"/>
                        <a:sym typeface="Titillium Web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84" name="Google Shape;584;g21570a8a96d_0_567"/>
          <p:cNvSpPr txBox="1"/>
          <p:nvPr/>
        </p:nvSpPr>
        <p:spPr>
          <a:xfrm>
            <a:off x="1833450" y="449475"/>
            <a:ext cx="5477100" cy="75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SzPts val="2800"/>
              <a:buNone/>
            </a:pPr>
            <a:r>
              <a:rPr lang="en" sz="2500"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Evaluation criteria</a:t>
            </a:r>
            <a:endParaRPr sz="2600" b="1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3100"/>
              <a:buNone/>
            </a:pPr>
            <a:endParaRPr sz="2400" b="1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585" name="Google Shape;585;g21570a8a96d_0_567"/>
          <p:cNvSpPr txBox="1"/>
          <p:nvPr/>
        </p:nvSpPr>
        <p:spPr>
          <a:xfrm>
            <a:off x="713250" y="3744375"/>
            <a:ext cx="7717500" cy="54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chemeClr val="dk1"/>
                </a:solidFill>
                <a:highlight>
                  <a:schemeClr val="lt1"/>
                </a:highlight>
                <a:latin typeface="Titillium Web"/>
                <a:ea typeface="Titillium Web"/>
                <a:cs typeface="Titillium Web"/>
                <a:sym typeface="Titillium Web"/>
              </a:rPr>
              <a:t>Each criterion will be scored on a 0-5 scale, where 0 represents “not meeting the criterion” and 5 – “meeting all relevant aspects of the criterion”.  Each proposal can receive a maximum of 15 points. </a:t>
            </a:r>
            <a:endParaRPr sz="1100">
              <a:solidFill>
                <a:schemeClr val="dk1"/>
              </a:solidFill>
              <a:highlight>
                <a:schemeClr val="lt1"/>
              </a:highlight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586" name="Google Shape;586;g21570a8a96d_0_567"/>
          <p:cNvSpPr/>
          <p:nvPr/>
        </p:nvSpPr>
        <p:spPr>
          <a:xfrm>
            <a:off x="6110908" y="452003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 extrusionOk="0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7" name="Google Shape;587;g21570a8a96d_0_567"/>
          <p:cNvSpPr/>
          <p:nvPr/>
        </p:nvSpPr>
        <p:spPr>
          <a:xfrm>
            <a:off x="514350" y="4520035"/>
            <a:ext cx="1128776" cy="475804"/>
          </a:xfrm>
          <a:custGeom>
            <a:avLst/>
            <a:gdLst/>
            <a:ahLst/>
            <a:cxnLst/>
            <a:rect l="l" t="t" r="r" b="b"/>
            <a:pathLst>
              <a:path w="2257552" h="951609" extrusionOk="0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21570a8a96d_0_152"/>
          <p:cNvSpPr/>
          <p:nvPr/>
        </p:nvSpPr>
        <p:spPr>
          <a:xfrm>
            <a:off x="6110908" y="452003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 extrusionOk="0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4" name="Google Shape;404;g21570a8a96d_0_152"/>
          <p:cNvSpPr/>
          <p:nvPr/>
        </p:nvSpPr>
        <p:spPr>
          <a:xfrm>
            <a:off x="514350" y="4520035"/>
            <a:ext cx="1128776" cy="475804"/>
          </a:xfrm>
          <a:custGeom>
            <a:avLst/>
            <a:gdLst/>
            <a:ahLst/>
            <a:cxnLst/>
            <a:rect l="l" t="t" r="r" b="b"/>
            <a:pathLst>
              <a:path w="2257552" h="951609" extrusionOk="0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5" name="Google Shape;405;g21570a8a96d_0_152"/>
          <p:cNvSpPr txBox="1"/>
          <p:nvPr/>
        </p:nvSpPr>
        <p:spPr>
          <a:xfrm>
            <a:off x="1833450" y="438875"/>
            <a:ext cx="54771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SzPts val="3100"/>
              <a:buNone/>
            </a:pPr>
            <a:r>
              <a:rPr lang="en" sz="2400"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Project summary (max. 2 slides)</a:t>
            </a:r>
            <a:endParaRPr sz="5700" b="1">
              <a:solidFill>
                <a:srgbClr val="333089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406" name="Google Shape;406;g21570a8a96d_0_152"/>
          <p:cNvSpPr txBox="1"/>
          <p:nvPr/>
        </p:nvSpPr>
        <p:spPr>
          <a:xfrm>
            <a:off x="351325" y="3168701"/>
            <a:ext cx="2593800" cy="987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 sz="1100" b="0" i="0" u="none" strike="noStrike" cap="none">
                <a:solidFill>
                  <a:srgbClr val="000000"/>
                </a:solidFill>
                <a:latin typeface="Titillium Web"/>
                <a:ea typeface="Titillium Web"/>
                <a:cs typeface="Titillium Web"/>
                <a:sym typeface="Titillium Web"/>
              </a:rPr>
              <a:t>Please shortly describe your agrifood technology or solution. How does your solution solve the problem/need of your customers?</a:t>
            </a:r>
            <a:endParaRPr sz="1100" b="0" i="0" u="none" strike="noStrike" cap="none">
              <a:solidFill>
                <a:srgbClr val="000000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rgbClr val="000000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407" name="Google Shape;407;g21570a8a96d_0_152"/>
          <p:cNvSpPr txBox="1"/>
          <p:nvPr/>
        </p:nvSpPr>
        <p:spPr>
          <a:xfrm>
            <a:off x="5660129" y="1255050"/>
            <a:ext cx="2921100" cy="47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r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" sz="20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3. Competitors</a:t>
            </a:r>
            <a:endParaRPr sz="2000" b="1" i="0" u="none" strike="noStrike" cap="none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408" name="Google Shape;408;g21570a8a96d_0_152"/>
          <p:cNvSpPr txBox="1"/>
          <p:nvPr/>
        </p:nvSpPr>
        <p:spPr>
          <a:xfrm>
            <a:off x="272657" y="1255050"/>
            <a:ext cx="2751600" cy="47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marR="0" lvl="0" indent="-355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tillium Web"/>
              <a:buAutoNum type="arabicPeriod"/>
            </a:pPr>
            <a:r>
              <a:rPr lang="en" sz="20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Problem </a:t>
            </a:r>
            <a:endParaRPr sz="2000" b="1" i="0" u="none" strike="noStrike" cap="none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409" name="Google Shape;409;g21570a8a96d_0_152"/>
          <p:cNvSpPr txBox="1"/>
          <p:nvPr/>
        </p:nvSpPr>
        <p:spPr>
          <a:xfrm>
            <a:off x="266275" y="1614875"/>
            <a:ext cx="2921100" cy="54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 sz="1100" b="0" i="0" u="none" strike="noStrike" cap="none" dirty="0">
                <a:solidFill>
                  <a:srgbClr val="000000"/>
                </a:solidFill>
                <a:latin typeface="Titillium Web"/>
                <a:ea typeface="Titillium Web"/>
                <a:cs typeface="Titillium Web"/>
                <a:sym typeface="Titillium Web"/>
              </a:rPr>
              <a:t>What problem are you trying to solve with your agrifood solution or technology? Who are your customers and what issues or needs do they have?</a:t>
            </a:r>
            <a:endParaRPr sz="1100" b="0" i="0" u="none" strike="noStrike" cap="none" dirty="0">
              <a:solidFill>
                <a:srgbClr val="000000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 dirty="0">
              <a:solidFill>
                <a:srgbClr val="000000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410" name="Google Shape;410;g21570a8a96d_0_152"/>
          <p:cNvSpPr txBox="1"/>
          <p:nvPr/>
        </p:nvSpPr>
        <p:spPr>
          <a:xfrm>
            <a:off x="5660128" y="1611625"/>
            <a:ext cx="2921100" cy="54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 sz="1100" b="0" i="0" u="none" strike="noStrike" cap="none">
                <a:solidFill>
                  <a:srgbClr val="000000"/>
                </a:solidFill>
                <a:latin typeface="Titillium Web"/>
                <a:ea typeface="Titillium Web"/>
                <a:cs typeface="Titillium Web"/>
                <a:sym typeface="Titillium Web"/>
              </a:rPr>
              <a:t>Who are your competitors? How are your customers solving their problem at the moment? Please consider both direct and indirect competitors. </a:t>
            </a:r>
            <a:endParaRPr sz="1200" b="0" i="0" u="none" strike="noStrike" cap="none">
              <a:solidFill>
                <a:srgbClr val="000000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411" name="Google Shape;411;g21570a8a96d_0_152"/>
          <p:cNvSpPr txBox="1"/>
          <p:nvPr/>
        </p:nvSpPr>
        <p:spPr>
          <a:xfrm>
            <a:off x="502084" y="2810425"/>
            <a:ext cx="2443500" cy="47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" sz="20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2. Solution </a:t>
            </a:r>
            <a:endParaRPr sz="2000" b="1" i="0" u="none" strike="noStrike" cap="none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412" name="Google Shape;412;g21570a8a96d_0_152"/>
          <p:cNvSpPr txBox="1"/>
          <p:nvPr/>
        </p:nvSpPr>
        <p:spPr>
          <a:xfrm>
            <a:off x="5958275" y="3180426"/>
            <a:ext cx="2593800" cy="987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 sz="1100" b="0" i="0" u="none" strike="noStrike" cap="none">
                <a:solidFill>
                  <a:srgbClr val="000000"/>
                </a:solidFill>
                <a:latin typeface="Titillium Web"/>
                <a:ea typeface="Titillium Web"/>
                <a:cs typeface="Titillium Web"/>
                <a:sym typeface="Titillium Web"/>
              </a:rPr>
              <a:t>What is distinctive and innovative about your solution? What differentiates it from the competitors?</a:t>
            </a:r>
            <a:endParaRPr sz="1100" b="0" i="0" u="none" strike="noStrike" cap="none">
              <a:solidFill>
                <a:srgbClr val="000000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marR="0" lvl="0" indent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 sz="1100" b="0" i="0" u="none" strike="noStrike" cap="none">
                <a:solidFill>
                  <a:srgbClr val="000000"/>
                </a:solidFill>
                <a:latin typeface="Titillium Web"/>
                <a:ea typeface="Titillium Web"/>
                <a:cs typeface="Titillium Web"/>
                <a:sym typeface="Titillium Web"/>
              </a:rPr>
              <a:t>.</a:t>
            </a:r>
            <a:endParaRPr sz="1100" b="0" i="0" u="none" strike="noStrike" cap="none">
              <a:solidFill>
                <a:srgbClr val="000000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marR="0" lvl="0" indent="0" algn="r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rgbClr val="000000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413" name="Google Shape;413;g21570a8a96d_0_152"/>
          <p:cNvSpPr txBox="1"/>
          <p:nvPr/>
        </p:nvSpPr>
        <p:spPr>
          <a:xfrm>
            <a:off x="5050825" y="2810425"/>
            <a:ext cx="3530400" cy="47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r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" sz="20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4. Advantage</a:t>
            </a:r>
            <a:endParaRPr sz="2000" b="1" i="0" u="none" strike="noStrike" cap="none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414" name="Google Shape;414;g21570a8a96d_0_152"/>
          <p:cNvSpPr txBox="1"/>
          <p:nvPr/>
        </p:nvSpPr>
        <p:spPr>
          <a:xfrm>
            <a:off x="7192150" y="1262550"/>
            <a:ext cx="1779900" cy="46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2"/>
              </a:solidFill>
              <a:latin typeface="Libre Franklin"/>
              <a:ea typeface="Libre Franklin"/>
              <a:cs typeface="Libre Franklin"/>
              <a:sym typeface="Libre Franklin"/>
            </a:endParaRPr>
          </a:p>
        </p:txBody>
      </p:sp>
      <p:sp>
        <p:nvSpPr>
          <p:cNvPr id="415" name="Google Shape;415;g21570a8a96d_0_152"/>
          <p:cNvSpPr/>
          <p:nvPr/>
        </p:nvSpPr>
        <p:spPr>
          <a:xfrm rot="-379311">
            <a:off x="3623487" y="1713460"/>
            <a:ext cx="1898677" cy="1943030"/>
          </a:xfrm>
          <a:custGeom>
            <a:avLst/>
            <a:gdLst/>
            <a:ahLst/>
            <a:cxnLst/>
            <a:rect l="l" t="t" r="r" b="b"/>
            <a:pathLst>
              <a:path w="2200736" h="2200736" extrusionOk="0">
                <a:moveTo>
                  <a:pt x="0" y="0"/>
                </a:moveTo>
                <a:lnTo>
                  <a:pt x="2200736" y="0"/>
                </a:lnTo>
                <a:lnTo>
                  <a:pt x="2200736" y="2200736"/>
                </a:lnTo>
                <a:lnTo>
                  <a:pt x="0" y="2200736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5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6" name="Google Shape;416;g21570a8a96d_0_152"/>
          <p:cNvSpPr/>
          <p:nvPr/>
        </p:nvSpPr>
        <p:spPr>
          <a:xfrm>
            <a:off x="3903750" y="2853923"/>
            <a:ext cx="1438731" cy="1409957"/>
          </a:xfrm>
          <a:custGeom>
            <a:avLst/>
            <a:gdLst/>
            <a:ahLst/>
            <a:cxnLst/>
            <a:rect l="l" t="t" r="r" b="b"/>
            <a:pathLst>
              <a:path w="1668094" h="1634733" extrusionOk="0">
                <a:moveTo>
                  <a:pt x="0" y="0"/>
                </a:moveTo>
                <a:lnTo>
                  <a:pt x="1668095" y="0"/>
                </a:lnTo>
                <a:lnTo>
                  <a:pt x="1668095" y="1634733"/>
                </a:lnTo>
                <a:lnTo>
                  <a:pt x="0" y="1634733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6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1" name="Google Shape;421;g21570a8a96d_0_247"/>
          <p:cNvSpPr/>
          <p:nvPr/>
        </p:nvSpPr>
        <p:spPr>
          <a:xfrm>
            <a:off x="6110908" y="452003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 extrusionOk="0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2" name="Google Shape;422;g21570a8a96d_0_247"/>
          <p:cNvSpPr/>
          <p:nvPr/>
        </p:nvSpPr>
        <p:spPr>
          <a:xfrm>
            <a:off x="514350" y="4520035"/>
            <a:ext cx="1128776" cy="475804"/>
          </a:xfrm>
          <a:custGeom>
            <a:avLst/>
            <a:gdLst/>
            <a:ahLst/>
            <a:cxnLst/>
            <a:rect l="l" t="t" r="r" b="b"/>
            <a:pathLst>
              <a:path w="2257552" h="951609" extrusionOk="0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3" name="Google Shape;423;g21570a8a96d_0_247"/>
          <p:cNvSpPr txBox="1"/>
          <p:nvPr/>
        </p:nvSpPr>
        <p:spPr>
          <a:xfrm>
            <a:off x="1833450" y="438875"/>
            <a:ext cx="54771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SzPts val="3100"/>
              <a:buNone/>
            </a:pPr>
            <a:r>
              <a:rPr lang="en" sz="2400"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Project summary Slide 1</a:t>
            </a:r>
            <a:endParaRPr sz="5700" b="1">
              <a:solidFill>
                <a:srgbClr val="333089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8" name="Google Shape;428;g21570a8a96d_0_264"/>
          <p:cNvSpPr/>
          <p:nvPr/>
        </p:nvSpPr>
        <p:spPr>
          <a:xfrm>
            <a:off x="6110908" y="452003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 extrusionOk="0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9" name="Google Shape;429;g21570a8a96d_0_264"/>
          <p:cNvSpPr/>
          <p:nvPr/>
        </p:nvSpPr>
        <p:spPr>
          <a:xfrm>
            <a:off x="514350" y="4520035"/>
            <a:ext cx="1128776" cy="475804"/>
          </a:xfrm>
          <a:custGeom>
            <a:avLst/>
            <a:gdLst/>
            <a:ahLst/>
            <a:cxnLst/>
            <a:rect l="l" t="t" r="r" b="b"/>
            <a:pathLst>
              <a:path w="2257552" h="951609" extrusionOk="0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0" name="Google Shape;430;g21570a8a96d_0_264"/>
          <p:cNvSpPr txBox="1"/>
          <p:nvPr/>
        </p:nvSpPr>
        <p:spPr>
          <a:xfrm>
            <a:off x="1833450" y="438875"/>
            <a:ext cx="54771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SzPts val="3100"/>
              <a:buNone/>
            </a:pPr>
            <a:r>
              <a:rPr lang="en" sz="2400"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Project summary Slide 2</a:t>
            </a:r>
            <a:endParaRPr sz="5700" b="1">
              <a:solidFill>
                <a:srgbClr val="333089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8" name="Google Shape;428;g21570a8a96d_0_264"/>
          <p:cNvSpPr/>
          <p:nvPr/>
        </p:nvSpPr>
        <p:spPr>
          <a:xfrm>
            <a:off x="6110908" y="452003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 extrusionOk="0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9" name="Google Shape;429;g21570a8a96d_0_264"/>
          <p:cNvSpPr/>
          <p:nvPr/>
        </p:nvSpPr>
        <p:spPr>
          <a:xfrm>
            <a:off x="514350" y="4520035"/>
            <a:ext cx="1128776" cy="475804"/>
          </a:xfrm>
          <a:custGeom>
            <a:avLst/>
            <a:gdLst/>
            <a:ahLst/>
            <a:cxnLst/>
            <a:rect l="l" t="t" r="r" b="b"/>
            <a:pathLst>
              <a:path w="2257552" h="951609" extrusionOk="0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0" name="Google Shape;430;g21570a8a96d_0_264"/>
          <p:cNvSpPr txBox="1"/>
          <p:nvPr/>
        </p:nvSpPr>
        <p:spPr>
          <a:xfrm>
            <a:off x="1833450" y="438875"/>
            <a:ext cx="54771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SzPts val="3100"/>
              <a:buNone/>
            </a:pPr>
            <a:r>
              <a:rPr lang="en" sz="2400" b="1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Project summary Example </a:t>
            </a:r>
            <a:endParaRPr sz="5700" b="1" dirty="0">
              <a:solidFill>
                <a:srgbClr val="333089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</p:spTree>
    <p:extLst>
      <p:ext uri="{BB962C8B-B14F-4D97-AF65-F5344CB8AC3E}">
        <p14:creationId xmlns:p14="http://schemas.microsoft.com/office/powerpoint/2010/main" val="30402107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5" name="Google Shape;435;g21570a8a96d_0_270"/>
          <p:cNvSpPr/>
          <p:nvPr/>
        </p:nvSpPr>
        <p:spPr>
          <a:xfrm>
            <a:off x="6110908" y="452003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 extrusionOk="0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6" name="Google Shape;436;g21570a8a96d_0_270"/>
          <p:cNvSpPr/>
          <p:nvPr/>
        </p:nvSpPr>
        <p:spPr>
          <a:xfrm>
            <a:off x="514350" y="4520035"/>
            <a:ext cx="1128776" cy="475804"/>
          </a:xfrm>
          <a:custGeom>
            <a:avLst/>
            <a:gdLst/>
            <a:ahLst/>
            <a:cxnLst/>
            <a:rect l="l" t="t" r="r" b="b"/>
            <a:pathLst>
              <a:path w="2257552" h="951609" extrusionOk="0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7" name="Google Shape;437;g21570a8a96d_0_270"/>
          <p:cNvSpPr txBox="1"/>
          <p:nvPr/>
        </p:nvSpPr>
        <p:spPr>
          <a:xfrm>
            <a:off x="1833450" y="438875"/>
            <a:ext cx="54771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SzPts val="3100"/>
              <a:buNone/>
            </a:pPr>
            <a:r>
              <a:rPr lang="en" sz="2400"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Team</a:t>
            </a:r>
            <a:endParaRPr sz="5700" b="1">
              <a:solidFill>
                <a:srgbClr val="333089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438" name="Google Shape;438;g21570a8a96d_0_270"/>
          <p:cNvSpPr txBox="1">
            <a:spLocks noGrp="1"/>
          </p:cNvSpPr>
          <p:nvPr>
            <p:ph type="subTitle" idx="4294967295"/>
          </p:nvPr>
        </p:nvSpPr>
        <p:spPr>
          <a:xfrm>
            <a:off x="3523859" y="2525172"/>
            <a:ext cx="2204700" cy="23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1300" b="1">
                <a:latin typeface="Titillium Web"/>
                <a:ea typeface="Titillium Web"/>
                <a:cs typeface="Titillium Web"/>
                <a:sym typeface="Titillium Web"/>
              </a:rPr>
              <a:t>Team Member 2</a:t>
            </a:r>
            <a:endParaRPr sz="1300" b="1"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439" name="Google Shape;439;g21570a8a96d_0_270"/>
          <p:cNvSpPr txBox="1">
            <a:spLocks noGrp="1"/>
          </p:cNvSpPr>
          <p:nvPr>
            <p:ph type="body" idx="4294967295"/>
          </p:nvPr>
        </p:nvSpPr>
        <p:spPr>
          <a:xfrm>
            <a:off x="895775" y="2821918"/>
            <a:ext cx="2173500" cy="55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1100" b="1">
                <a:latin typeface="Titillium Web"/>
                <a:ea typeface="Titillium Web"/>
                <a:cs typeface="Titillium Web"/>
                <a:sym typeface="Titillium Web"/>
              </a:rPr>
              <a:t>Tech/Business Co-founder</a:t>
            </a:r>
            <a:endParaRPr sz="1100" b="1"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1100">
                <a:latin typeface="Titillium Web"/>
                <a:ea typeface="Titillium Web"/>
                <a:cs typeface="Titillium Web"/>
                <a:sym typeface="Titillium Web"/>
              </a:rPr>
              <a:t>Role in the project</a:t>
            </a:r>
            <a:endParaRPr sz="1100"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1100">
                <a:latin typeface="Titillium Web"/>
                <a:ea typeface="Titillium Web"/>
                <a:cs typeface="Titillium Web"/>
                <a:sym typeface="Titillium Web"/>
              </a:rPr>
              <a:t>Brief description of skills and experience  </a:t>
            </a:r>
            <a:endParaRPr sz="1100"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440" name="Google Shape;440;g21570a8a96d_0_270"/>
          <p:cNvSpPr txBox="1">
            <a:spLocks noGrp="1"/>
          </p:cNvSpPr>
          <p:nvPr>
            <p:ph type="subTitle" idx="4294967295"/>
          </p:nvPr>
        </p:nvSpPr>
        <p:spPr>
          <a:xfrm>
            <a:off x="918015" y="2525172"/>
            <a:ext cx="2129100" cy="23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1300" b="1">
                <a:latin typeface="Titillium Web"/>
                <a:ea typeface="Titillium Web"/>
                <a:cs typeface="Titillium Web"/>
                <a:sym typeface="Titillium Web"/>
              </a:rPr>
              <a:t>Team member 1</a:t>
            </a:r>
            <a:endParaRPr sz="1300" b="1"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441" name="Google Shape;441;g21570a8a96d_0_270"/>
          <p:cNvSpPr txBox="1">
            <a:spLocks noGrp="1"/>
          </p:cNvSpPr>
          <p:nvPr>
            <p:ph type="subTitle" idx="4294967295"/>
          </p:nvPr>
        </p:nvSpPr>
        <p:spPr>
          <a:xfrm>
            <a:off x="6322284" y="2516859"/>
            <a:ext cx="2204700" cy="23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1300" b="1">
                <a:latin typeface="Titillium Web"/>
                <a:ea typeface="Titillium Web"/>
                <a:cs typeface="Titillium Web"/>
                <a:sym typeface="Titillium Web"/>
              </a:rPr>
              <a:t>Team Member N</a:t>
            </a:r>
            <a:endParaRPr sz="1300" b="1"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442" name="Google Shape;442;g21570a8a96d_0_270"/>
          <p:cNvSpPr txBox="1">
            <a:spLocks noGrp="1"/>
          </p:cNvSpPr>
          <p:nvPr>
            <p:ph type="body" idx="4294967295"/>
          </p:nvPr>
        </p:nvSpPr>
        <p:spPr>
          <a:xfrm>
            <a:off x="3540500" y="2821918"/>
            <a:ext cx="2173500" cy="55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1100" b="1">
                <a:latin typeface="Titillium Web"/>
                <a:ea typeface="Titillium Web"/>
                <a:cs typeface="Titillium Web"/>
                <a:sym typeface="Titillium Web"/>
              </a:rPr>
              <a:t>Tech/Business Co-founder</a:t>
            </a:r>
            <a:endParaRPr sz="1100" b="1"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1100">
                <a:latin typeface="Titillium Web"/>
                <a:ea typeface="Titillium Web"/>
                <a:cs typeface="Titillium Web"/>
                <a:sym typeface="Titillium Web"/>
              </a:rPr>
              <a:t>Role in the project</a:t>
            </a:r>
            <a:endParaRPr sz="1100"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1100">
                <a:latin typeface="Titillium Web"/>
                <a:ea typeface="Titillium Web"/>
                <a:cs typeface="Titillium Web"/>
                <a:sym typeface="Titillium Web"/>
              </a:rPr>
              <a:t>Brief description of skills and experience  </a:t>
            </a:r>
            <a:endParaRPr sz="1100"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443" name="Google Shape;443;g21570a8a96d_0_270"/>
          <p:cNvSpPr txBox="1">
            <a:spLocks noGrp="1"/>
          </p:cNvSpPr>
          <p:nvPr>
            <p:ph type="body" idx="4294967295"/>
          </p:nvPr>
        </p:nvSpPr>
        <p:spPr>
          <a:xfrm>
            <a:off x="6337875" y="2821918"/>
            <a:ext cx="2173500" cy="55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1100" b="1">
                <a:latin typeface="Titillium Web"/>
                <a:ea typeface="Titillium Web"/>
                <a:cs typeface="Titillium Web"/>
                <a:sym typeface="Titillium Web"/>
              </a:rPr>
              <a:t>Tech/Business Co-founder</a:t>
            </a:r>
            <a:endParaRPr sz="1100" b="1"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1100">
                <a:latin typeface="Titillium Web"/>
                <a:ea typeface="Titillium Web"/>
                <a:cs typeface="Titillium Web"/>
                <a:sym typeface="Titillium Web"/>
              </a:rPr>
              <a:t>Role in the project</a:t>
            </a:r>
            <a:endParaRPr sz="1100"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1100">
                <a:latin typeface="Titillium Web"/>
                <a:ea typeface="Titillium Web"/>
                <a:cs typeface="Titillium Web"/>
                <a:sym typeface="Titillium Web"/>
              </a:rPr>
              <a:t>Brief description of skills and experience  </a:t>
            </a:r>
            <a:endParaRPr sz="1100"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pic>
        <p:nvPicPr>
          <p:cNvPr id="444" name="Google Shape;444;g21570a8a96d_0_270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1611652" y="1622600"/>
            <a:ext cx="741850" cy="741850"/>
          </a:xfrm>
          <a:prstGeom prst="rect">
            <a:avLst/>
          </a:prstGeom>
          <a:noFill/>
          <a:ln>
            <a:noFill/>
          </a:ln>
        </p:spPr>
      </p:pic>
      <p:pic>
        <p:nvPicPr>
          <p:cNvPr id="445" name="Google Shape;445;g21570a8a96d_0_270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4201077" y="1622600"/>
            <a:ext cx="741850" cy="741850"/>
          </a:xfrm>
          <a:prstGeom prst="rect">
            <a:avLst/>
          </a:prstGeom>
          <a:noFill/>
          <a:ln>
            <a:noFill/>
          </a:ln>
        </p:spPr>
      </p:pic>
      <p:pic>
        <p:nvPicPr>
          <p:cNvPr id="446" name="Google Shape;446;g21570a8a96d_0_270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7053702" y="1622600"/>
            <a:ext cx="741850" cy="74185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1" name="Google Shape;451;g21570a8a96d_0_306"/>
          <p:cNvGrpSpPr/>
          <p:nvPr/>
        </p:nvGrpSpPr>
        <p:grpSpPr>
          <a:xfrm>
            <a:off x="0" y="-59900"/>
            <a:ext cx="3522986" cy="5239629"/>
            <a:chOff x="0" y="-38100"/>
            <a:chExt cx="3957966" cy="2747433"/>
          </a:xfrm>
        </p:grpSpPr>
        <p:sp>
          <p:nvSpPr>
            <p:cNvPr id="452" name="Google Shape;452;g21570a8a96d_0_306"/>
            <p:cNvSpPr/>
            <p:nvPr/>
          </p:nvSpPr>
          <p:spPr>
            <a:xfrm>
              <a:off x="0" y="0"/>
              <a:ext cx="3957966" cy="2709333"/>
            </a:xfrm>
            <a:custGeom>
              <a:avLst/>
              <a:gdLst/>
              <a:ahLst/>
              <a:cxnLst/>
              <a:rect l="l" t="t" r="r" b="b"/>
              <a:pathLst>
                <a:path w="3957966" h="2709333" extrusionOk="0">
                  <a:moveTo>
                    <a:pt x="51517" y="0"/>
                  </a:moveTo>
                  <a:lnTo>
                    <a:pt x="3906449" y="0"/>
                  </a:lnTo>
                  <a:cubicBezTo>
                    <a:pt x="3920112" y="0"/>
                    <a:pt x="3933216" y="5428"/>
                    <a:pt x="3942877" y="15089"/>
                  </a:cubicBezTo>
                  <a:cubicBezTo>
                    <a:pt x="3952539" y="24750"/>
                    <a:pt x="3957966" y="37854"/>
                    <a:pt x="3957966" y="51517"/>
                  </a:cubicBezTo>
                  <a:lnTo>
                    <a:pt x="3957966" y="2657816"/>
                  </a:lnTo>
                  <a:cubicBezTo>
                    <a:pt x="3957966" y="2686268"/>
                    <a:pt x="3934901" y="2709333"/>
                    <a:pt x="3906449" y="2709333"/>
                  </a:cubicBezTo>
                  <a:lnTo>
                    <a:pt x="51517" y="2709333"/>
                  </a:lnTo>
                  <a:cubicBezTo>
                    <a:pt x="23065" y="2709333"/>
                    <a:pt x="0" y="2686268"/>
                    <a:pt x="0" y="2657816"/>
                  </a:cubicBezTo>
                  <a:lnTo>
                    <a:pt x="0" y="51517"/>
                  </a:lnTo>
                  <a:cubicBezTo>
                    <a:pt x="0" y="23065"/>
                    <a:pt x="23065" y="0"/>
                    <a:pt x="51517" y="0"/>
                  </a:cubicBezTo>
                  <a:close/>
                </a:path>
              </a:pathLst>
            </a:custGeom>
            <a:solidFill>
              <a:srgbClr val="CAC0F6"/>
            </a:solidFill>
            <a:ln>
              <a:noFill/>
            </a:ln>
          </p:spPr>
          <p:txBody>
            <a:bodyPr spcFirstLastPara="1" wrap="square" lIns="45725" tIns="22850" rIns="45725" bIns="2285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9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3" name="Google Shape;453;g21570a8a96d_0_306"/>
            <p:cNvSpPr txBox="1"/>
            <p:nvPr/>
          </p:nvSpPr>
          <p:spPr>
            <a:xfrm>
              <a:off x="0" y="-38100"/>
              <a:ext cx="3957900" cy="274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5400" tIns="25400" rIns="25400" bIns="25400" anchor="ctr" anchorCtr="0">
              <a:noAutofit/>
            </a:bodyPr>
            <a:lstStyle/>
            <a:p>
              <a:pPr marL="0" marR="0" lvl="0" indent="0" algn="ctr" rtl="0">
                <a:lnSpc>
                  <a:spcPct val="147722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9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54" name="Google Shape;454;g21570a8a96d_0_306"/>
          <p:cNvSpPr txBox="1">
            <a:spLocks noGrp="1"/>
          </p:cNvSpPr>
          <p:nvPr>
            <p:ph type="title" idx="4294967295"/>
          </p:nvPr>
        </p:nvSpPr>
        <p:spPr>
          <a:xfrm>
            <a:off x="438638" y="725085"/>
            <a:ext cx="2645700" cy="137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</a:pPr>
            <a:r>
              <a:rPr lang="en" b="1">
                <a:solidFill>
                  <a:schemeClr val="lt2"/>
                </a:solidFill>
                <a:latin typeface="Titillium Web"/>
                <a:ea typeface="Titillium Web"/>
                <a:cs typeface="Titillium Web"/>
                <a:sym typeface="Titillium Web"/>
              </a:rPr>
              <a:t>Team</a:t>
            </a:r>
            <a:endParaRPr b="1">
              <a:solidFill>
                <a:schemeClr val="lt2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</a:pPr>
            <a:endParaRPr b="1">
              <a:solidFill>
                <a:schemeClr val="lt2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" sz="1800" b="1">
                <a:solidFill>
                  <a:schemeClr val="lt2"/>
                </a:solidFill>
                <a:latin typeface="Titillium Web"/>
                <a:ea typeface="Titillium Web"/>
                <a:cs typeface="Titillium Web"/>
                <a:sym typeface="Titillium Web"/>
              </a:rPr>
              <a:t>Why would you be a great team?</a:t>
            </a:r>
            <a:endParaRPr b="1">
              <a:solidFill>
                <a:schemeClr val="lt2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455" name="Google Shape;455;g21570a8a96d_0_306"/>
          <p:cNvSpPr txBox="1"/>
          <p:nvPr/>
        </p:nvSpPr>
        <p:spPr>
          <a:xfrm>
            <a:off x="3734900" y="91800"/>
            <a:ext cx="5055000" cy="480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666666"/>
                </a:solidFill>
                <a:latin typeface="Titillium Web"/>
                <a:ea typeface="Titillium Web"/>
                <a:cs typeface="Titillium Web"/>
                <a:sym typeface="Titillium Web"/>
              </a:rPr>
              <a:t>Please tell us, how did you meet and connect with each other? </a:t>
            </a:r>
            <a:endParaRPr sz="1500">
              <a:solidFill>
                <a:srgbClr val="666666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457200" lvl="0" indent="-323850" algn="l" rtl="0"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ts val="1500"/>
              <a:buFont typeface="Titillium Web"/>
              <a:buChar char="-"/>
            </a:pPr>
            <a:r>
              <a:rPr lang="en" sz="1500">
                <a:solidFill>
                  <a:srgbClr val="666666"/>
                </a:solidFill>
                <a:latin typeface="Titillium Web"/>
                <a:ea typeface="Titillium Web"/>
                <a:cs typeface="Titillium Web"/>
                <a:sym typeface="Titillium Web"/>
              </a:rPr>
              <a:t>How often did you met?</a:t>
            </a:r>
            <a:endParaRPr sz="1500">
              <a:solidFill>
                <a:srgbClr val="666666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457200" lvl="0" indent="-323850" algn="l" rtl="0"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ts val="1500"/>
              <a:buFont typeface="Titillium Web"/>
              <a:buChar char="-"/>
            </a:pPr>
            <a:r>
              <a:rPr lang="en" sz="1500">
                <a:solidFill>
                  <a:srgbClr val="666666"/>
                </a:solidFill>
                <a:latin typeface="Titillium Web"/>
                <a:ea typeface="Titillium Web"/>
                <a:cs typeface="Titillium Web"/>
                <a:sym typeface="Titillium Web"/>
              </a:rPr>
              <a:t>What activities have you done?</a:t>
            </a:r>
            <a:endParaRPr sz="1500">
              <a:solidFill>
                <a:srgbClr val="666666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>
              <a:solidFill>
                <a:srgbClr val="666666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666666"/>
                </a:solidFill>
                <a:latin typeface="Titillium Web"/>
                <a:ea typeface="Titillium Web"/>
                <a:cs typeface="Titillium Web"/>
                <a:sym typeface="Titillium Web"/>
              </a:rPr>
              <a:t>What’s the key thing that attracted you to each other?</a:t>
            </a:r>
            <a:endParaRPr sz="1500">
              <a:solidFill>
                <a:srgbClr val="666666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>
              <a:solidFill>
                <a:srgbClr val="666666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666666"/>
                </a:solidFill>
                <a:latin typeface="Titillium Web"/>
                <a:ea typeface="Titillium Web"/>
                <a:cs typeface="Titillium Web"/>
                <a:sym typeface="Titillium Web"/>
              </a:rPr>
              <a:t>Do you have any differences? </a:t>
            </a:r>
            <a:endParaRPr sz="1500">
              <a:solidFill>
                <a:srgbClr val="666666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>
              <a:solidFill>
                <a:srgbClr val="666666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666666"/>
                </a:solidFill>
                <a:latin typeface="Titillium Web"/>
                <a:ea typeface="Titillium Web"/>
                <a:cs typeface="Titillium Web"/>
                <a:sym typeface="Titillium Web"/>
              </a:rPr>
              <a:t>Do you have complementary skills, experience and professional network?</a:t>
            </a:r>
            <a:endParaRPr sz="1500">
              <a:solidFill>
                <a:srgbClr val="666666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>
              <a:solidFill>
                <a:srgbClr val="666666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666666"/>
                </a:solidFill>
                <a:latin typeface="Titillium Web"/>
                <a:ea typeface="Titillium Web"/>
                <a:cs typeface="Titillium Web"/>
                <a:sym typeface="Titillium Web"/>
              </a:rPr>
              <a:t>Do you have a shared vision and ambition when it comes to the development of a startup? </a:t>
            </a:r>
            <a:endParaRPr sz="1500">
              <a:solidFill>
                <a:srgbClr val="666666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>
              <a:solidFill>
                <a:srgbClr val="666666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666666"/>
                </a:solidFill>
                <a:latin typeface="Titillium Web"/>
                <a:ea typeface="Titillium Web"/>
                <a:cs typeface="Titillium Web"/>
                <a:sym typeface="Titillium Web"/>
              </a:rPr>
              <a:t>Do you see any potential risks/problems/challenges within your new team?</a:t>
            </a:r>
            <a:endParaRPr sz="1500">
              <a:solidFill>
                <a:srgbClr val="666666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>
              <a:solidFill>
                <a:srgbClr val="666666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666666"/>
                </a:solidFill>
                <a:latin typeface="Titillium Web"/>
                <a:ea typeface="Titillium Web"/>
                <a:cs typeface="Titillium Web"/>
                <a:sym typeface="Titillium Web"/>
              </a:rPr>
              <a:t>How do you imagine your journey after TeamUp?</a:t>
            </a:r>
            <a:endParaRPr sz="1500">
              <a:solidFill>
                <a:srgbClr val="666666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>
              <a:solidFill>
                <a:srgbClr val="666666"/>
              </a:solidFill>
              <a:highlight>
                <a:schemeClr val="lt2"/>
              </a:highlight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456" name="Google Shape;456;g21570a8a96d_0_306"/>
          <p:cNvSpPr/>
          <p:nvPr/>
        </p:nvSpPr>
        <p:spPr>
          <a:xfrm>
            <a:off x="925201" y="2424205"/>
            <a:ext cx="1672578" cy="1691026"/>
          </a:xfrm>
          <a:custGeom>
            <a:avLst/>
            <a:gdLst/>
            <a:ahLst/>
            <a:cxnLst/>
            <a:rect l="l" t="t" r="r" b="b"/>
            <a:pathLst>
              <a:path w="2934348" h="2966712" extrusionOk="0">
                <a:moveTo>
                  <a:pt x="0" y="0"/>
                </a:moveTo>
                <a:lnTo>
                  <a:pt x="2934348" y="0"/>
                </a:lnTo>
                <a:lnTo>
                  <a:pt x="2934348" y="2966712"/>
                </a:lnTo>
                <a:lnTo>
                  <a:pt x="0" y="2966712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7" name="Google Shape;457;g21570a8a96d_0_306"/>
          <p:cNvSpPr/>
          <p:nvPr/>
        </p:nvSpPr>
        <p:spPr>
          <a:xfrm>
            <a:off x="6110908" y="452003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 extrusionOk="0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8" name="Google Shape;458;g21570a8a96d_0_306"/>
          <p:cNvSpPr/>
          <p:nvPr/>
        </p:nvSpPr>
        <p:spPr>
          <a:xfrm>
            <a:off x="514350" y="4520035"/>
            <a:ext cx="1128776" cy="475804"/>
          </a:xfrm>
          <a:custGeom>
            <a:avLst/>
            <a:gdLst/>
            <a:ahLst/>
            <a:cxnLst/>
            <a:rect l="l" t="t" r="r" b="b"/>
            <a:pathLst>
              <a:path w="2257552" h="951609" extrusionOk="0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5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3" name="Google Shape;463;g21570a8a96d_0_407"/>
          <p:cNvSpPr/>
          <p:nvPr/>
        </p:nvSpPr>
        <p:spPr>
          <a:xfrm>
            <a:off x="6110908" y="4530635"/>
            <a:ext cx="2518742" cy="425046"/>
          </a:xfrm>
          <a:custGeom>
            <a:avLst/>
            <a:gdLst/>
            <a:ahLst/>
            <a:cxnLst/>
            <a:rect l="l" t="t" r="r" b="b"/>
            <a:pathLst>
              <a:path w="5037483" h="850092" extrusionOk="0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4" name="Google Shape;464;g21570a8a96d_0_407"/>
          <p:cNvSpPr/>
          <p:nvPr/>
        </p:nvSpPr>
        <p:spPr>
          <a:xfrm>
            <a:off x="514350" y="4530635"/>
            <a:ext cx="1128776" cy="475804"/>
          </a:xfrm>
          <a:custGeom>
            <a:avLst/>
            <a:gdLst/>
            <a:ahLst/>
            <a:cxnLst/>
            <a:rect l="l" t="t" r="r" b="b"/>
            <a:pathLst>
              <a:path w="2257552" h="951609" extrusionOk="0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5" tIns="22850" rIns="45725" bIns="228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5" name="Google Shape;465;g21570a8a96d_0_407"/>
          <p:cNvSpPr txBox="1"/>
          <p:nvPr/>
        </p:nvSpPr>
        <p:spPr>
          <a:xfrm>
            <a:off x="1833450" y="449475"/>
            <a:ext cx="5477100" cy="110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</a:pPr>
            <a:r>
              <a:rPr lang="en" sz="2400"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Please tell us, how did you meet and connect with each other? </a:t>
            </a:r>
            <a:endParaRPr sz="2400" b="1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3100"/>
              <a:buNone/>
            </a:pPr>
            <a:endParaRPr sz="2400" b="1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466" name="Google Shape;466;g21570a8a96d_0_407"/>
          <p:cNvSpPr txBox="1">
            <a:spLocks noGrp="1"/>
          </p:cNvSpPr>
          <p:nvPr>
            <p:ph type="body" idx="4294967295"/>
          </p:nvPr>
        </p:nvSpPr>
        <p:spPr>
          <a:xfrm>
            <a:off x="713225" y="1600125"/>
            <a:ext cx="7717500" cy="278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r>
              <a:rPr lang="en" sz="1400" b="1">
                <a:latin typeface="Titillium Web"/>
                <a:ea typeface="Titillium Web"/>
                <a:cs typeface="Titillium Web"/>
                <a:sym typeface="Titillium Web"/>
              </a:rPr>
              <a:t>How often did you met?</a:t>
            </a:r>
            <a:endParaRPr sz="1400" b="1"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endParaRPr sz="1400" b="1"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endParaRPr sz="1400" b="1"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endParaRPr sz="1400" b="1"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endParaRPr sz="1400" b="1"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endParaRPr sz="1400" b="1"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endParaRPr sz="1400" b="1"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r>
              <a:rPr lang="en" sz="1400" b="1">
                <a:latin typeface="Titillium Web"/>
                <a:ea typeface="Titillium Web"/>
                <a:cs typeface="Titillium Web"/>
                <a:sym typeface="Titillium Web"/>
              </a:rPr>
              <a:t>What activities have you done?</a:t>
            </a:r>
            <a:endParaRPr sz="1400" b="1">
              <a:latin typeface="Titillium Web"/>
              <a:ea typeface="Titillium Web"/>
              <a:cs typeface="Titillium Web"/>
              <a:sym typeface="Titillium Web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nagement System Planner by Slidesgo">
  <a:themeElements>
    <a:clrScheme name="Simple Light">
      <a:dk1>
        <a:srgbClr val="36338C"/>
      </a:dk1>
      <a:lt1>
        <a:srgbClr val="DAE3F2"/>
      </a:lt1>
      <a:dk2>
        <a:srgbClr val="161620"/>
      </a:dk2>
      <a:lt2>
        <a:srgbClr val="FFFFFF"/>
      </a:lt2>
      <a:accent1>
        <a:srgbClr val="C7CEDE"/>
      </a:accent1>
      <a:accent2>
        <a:srgbClr val="7966E4"/>
      </a:accent2>
      <a:accent3>
        <a:srgbClr val="F0F5FD"/>
      </a:accent3>
      <a:accent4>
        <a:srgbClr val="F1F4FD"/>
      </a:accent4>
      <a:accent5>
        <a:srgbClr val="36338C"/>
      </a:accent5>
      <a:accent6>
        <a:srgbClr val="DAE3F2"/>
      </a:accent6>
      <a:hlink>
        <a:srgbClr val="36338C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PRESENTATIONLOAD">
  <a:themeElements>
    <a:clrScheme name="Benutzerdefiniert 3">
      <a:dk1>
        <a:srgbClr val="000000"/>
      </a:dk1>
      <a:lt1>
        <a:srgbClr val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05</Words>
  <Application>Microsoft Office PowerPoint</Application>
  <PresentationFormat>Bildschirmpräsentation (16:9)</PresentationFormat>
  <Paragraphs>122</Paragraphs>
  <Slides>22</Slides>
  <Notes>2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4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2</vt:i4>
      </vt:variant>
    </vt:vector>
  </HeadingPairs>
  <TitlesOfParts>
    <vt:vector size="39" baseType="lpstr">
      <vt:lpstr>DM Sans</vt:lpstr>
      <vt:lpstr>Roboto Condensed Light</vt:lpstr>
      <vt:lpstr>Bebas Neue</vt:lpstr>
      <vt:lpstr>Titillium Web</vt:lpstr>
      <vt:lpstr>Calibri</vt:lpstr>
      <vt:lpstr>Libre Franklin</vt:lpstr>
      <vt:lpstr>Poppins ExtraBold</vt:lpstr>
      <vt:lpstr>Poppins</vt:lpstr>
      <vt:lpstr>Raleway Thin</vt:lpstr>
      <vt:lpstr>Noto Sans Symbols</vt:lpstr>
      <vt:lpstr>Arial</vt:lpstr>
      <vt:lpstr>Open Sans</vt:lpstr>
      <vt:lpstr>Raleway</vt:lpstr>
      <vt:lpstr>Livvic</vt:lpstr>
      <vt:lpstr>Management System Planner by Slidesgo</vt:lpstr>
      <vt:lpstr>2_PRESENTATIONLOAD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Team  Why would you be a great team?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lan for the Exploration phase</vt:lpstr>
      <vt:lpstr>Plan for the Exploration phase</vt:lpstr>
      <vt:lpstr>Plan for the Exploration phase - Example 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ylwia Sekula-Neuner</dc:creator>
  <cp:lastModifiedBy>Sylwia Sekula-Neuner</cp:lastModifiedBy>
  <cp:revision>1</cp:revision>
  <dcterms:modified xsi:type="dcterms:W3CDTF">2024-07-17T12:46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78A0E929B6464498A6B03AD32F45E6D</vt:lpwstr>
  </property>
</Properties>
</file>